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1.xml" ContentType="application/vnd.openxmlformats-officedocument.them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2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3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4.xml" ContentType="application/vnd.openxmlformats-officedocument.theme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5.xml" ContentType="application/vnd.openxmlformats-officedocument.them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6.xml" ContentType="application/vnd.openxmlformats-officedocument.them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7.xml" ContentType="application/vnd.openxmlformats-officedocument.them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8.xml" ContentType="application/vnd.openxmlformats-officedocument.them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9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0.xml" ContentType="application/vnd.openxmlformats-officedocument.theme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21.xml" ContentType="application/vnd.openxmlformats-officedocument.theme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91" r:id="rId20"/>
    <p:sldMasterId id="2147483795" r:id="rId21"/>
  </p:sldMasterIdLst>
  <p:notesMasterIdLst>
    <p:notesMasterId r:id="rId26"/>
  </p:notesMasterIdLst>
  <p:handoutMasterIdLst>
    <p:handoutMasterId r:id="rId27"/>
  </p:handoutMasterIdLst>
  <p:sldIdLst>
    <p:sldId id="693" r:id="rId22"/>
    <p:sldId id="694" r:id="rId23"/>
    <p:sldId id="695" r:id="rId24"/>
    <p:sldId id="696" r:id="rId25"/>
  </p:sldIdLst>
  <p:sldSz cx="11949113" cy="6721475"/>
  <p:notesSz cx="9236075" cy="6954838"/>
  <p:custDataLst>
    <p:tags r:id="rId2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373" autoAdjust="0"/>
    <p:restoredTop sz="96699" autoAdjust="0"/>
  </p:normalViewPr>
  <p:slideViewPr>
    <p:cSldViewPr snapToGrid="0" snapToObjects="1">
      <p:cViewPr>
        <p:scale>
          <a:sx n="140" d="100"/>
          <a:sy n="140" d="100"/>
        </p:scale>
        <p:origin x="2024" y="1288"/>
      </p:cViewPr>
      <p:guideLst>
        <p:guide orient="horz" pos="1480"/>
        <p:guide pos="812"/>
        <p:guide pos="2952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" Target="slides/slide1.xml"/><Relationship Id="rId23" Type="http://schemas.openxmlformats.org/officeDocument/2006/relationships/slide" Target="slides/slide2.xml"/><Relationship Id="rId24" Type="http://schemas.openxmlformats.org/officeDocument/2006/relationships/slide" Target="slides/slide3.xml"/><Relationship Id="rId25" Type="http://schemas.openxmlformats.org/officeDocument/2006/relationships/slide" Target="slides/slide4.xml"/><Relationship Id="rId26" Type="http://schemas.openxmlformats.org/officeDocument/2006/relationships/notesMaster" Target="notesMasters/notesMaster1.xml"/><Relationship Id="rId27" Type="http://schemas.openxmlformats.org/officeDocument/2006/relationships/handoutMaster" Target="handoutMasters/handoutMaster1.xml"/><Relationship Id="rId28" Type="http://schemas.openxmlformats.org/officeDocument/2006/relationships/tags" Target="tags/tag1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presProps" Target="presProps.xml"/><Relationship Id="rId31" Type="http://schemas.openxmlformats.org/officeDocument/2006/relationships/viewProps" Target="viewProps.xml"/><Relationship Id="rId32" Type="http://schemas.openxmlformats.org/officeDocument/2006/relationships/theme" Target="theme/theme1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41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239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2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3.emf"/><Relationship Id="rId1" Type="http://schemas.openxmlformats.org/officeDocument/2006/relationships/vmlDrawing" Target="../drawings/vmlDrawing15.vml"/><Relationship Id="rId2" Type="http://schemas.openxmlformats.org/officeDocument/2006/relationships/tags" Target="../tags/tag6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0.vml"/><Relationship Id="rId2" Type="http://schemas.openxmlformats.org/officeDocument/2006/relationships/tags" Target="../tags/tag8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2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2.vml"/><Relationship Id="rId2" Type="http://schemas.openxmlformats.org/officeDocument/2006/relationships/tags" Target="../tags/tag10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3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4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4.vml"/><Relationship Id="rId2" Type="http://schemas.openxmlformats.org/officeDocument/2006/relationships/tags" Target="../tags/tag1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4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9.vml"/><Relationship Id="rId2" Type="http://schemas.openxmlformats.org/officeDocument/2006/relationships/tags" Target="../tags/tag13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1.bin"/><Relationship Id="rId5" Type="http://schemas.openxmlformats.org/officeDocument/2006/relationships/image" Target="../media/image2.emf"/><Relationship Id="rId6" Type="http://schemas.openxmlformats.org/officeDocument/2006/relationships/image" Target="../media/image8.jpg"/><Relationship Id="rId7" Type="http://schemas.openxmlformats.org/officeDocument/2006/relationships/image" Target="../media/image9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10.png"/><Relationship Id="rId1" Type="http://schemas.openxmlformats.org/officeDocument/2006/relationships/vmlDrawing" Target="../drawings/vmlDrawing32.vml"/><Relationship Id="rId2" Type="http://schemas.openxmlformats.org/officeDocument/2006/relationships/tags" Target="../tags/tag15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3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3.vml"/><Relationship Id="rId2" Type="http://schemas.openxmlformats.org/officeDocument/2006/relationships/tags" Target="../tags/tag15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8.vml"/><Relationship Id="rId2" Type="http://schemas.openxmlformats.org/officeDocument/2006/relationships/tags" Target="../tags/tag17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3.vml"/><Relationship Id="rId2" Type="http://schemas.openxmlformats.org/officeDocument/2006/relationships/tags" Target="../tags/tag19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8.vml"/><Relationship Id="rId2" Type="http://schemas.openxmlformats.org/officeDocument/2006/relationships/tags" Target="../tags/tag21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3.vml"/><Relationship Id="rId2" Type="http://schemas.openxmlformats.org/officeDocument/2006/relationships/tags" Target="../tags/tag23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8.vml"/><Relationship Id="rId2" Type="http://schemas.openxmlformats.org/officeDocument/2006/relationships/tags" Target="../tags/tag25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7.emf"/><Relationship Id="rId1" Type="http://schemas.openxmlformats.org/officeDocument/2006/relationships/vmlDrawing" Target="../drawings/vmlDrawing6.vml"/><Relationship Id="rId2" Type="http://schemas.openxmlformats.org/officeDocument/2006/relationships/tags" Target="../tags/tag2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3.vml"/><Relationship Id="rId2" Type="http://schemas.openxmlformats.org/officeDocument/2006/relationships/tags" Target="../tags/tag28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8.vml"/><Relationship Id="rId2" Type="http://schemas.openxmlformats.org/officeDocument/2006/relationships/tags" Target="../tags/tag30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3.vml"/><Relationship Id="rId2" Type="http://schemas.openxmlformats.org/officeDocument/2006/relationships/tags" Target="../tags/tag32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2.emf"/><Relationship Id="rId6" Type="http://schemas.openxmlformats.org/officeDocument/2006/relationships/image" Target="../media/image8.jpg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8.vml"/><Relationship Id="rId2" Type="http://schemas.openxmlformats.org/officeDocument/2006/relationships/tags" Target="../tags/tag34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3.vml"/><Relationship Id="rId2" Type="http://schemas.openxmlformats.org/officeDocument/2006/relationships/tags" Target="../tags/tag36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7.vml"/><Relationship Id="rId2" Type="http://schemas.openxmlformats.org/officeDocument/2006/relationships/tags" Target="../tags/tag38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10.png"/><Relationship Id="rId1" Type="http://schemas.openxmlformats.org/officeDocument/2006/relationships/vmlDrawing" Target="../drawings/vmlDrawing9.vml"/><Relationship Id="rId2" Type="http://schemas.openxmlformats.org/officeDocument/2006/relationships/tags" Target="../tags/tag4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2.vml"/><Relationship Id="rId2" Type="http://schemas.openxmlformats.org/officeDocument/2006/relationships/tags" Target="../tags/tag40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11.jpg"/><Relationship Id="rId5" Type="http://schemas.openxmlformats.org/officeDocument/2006/relationships/oleObject" Target="../embeddings/oleObject9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4.vml"/><Relationship Id="rId2" Type="http://schemas.openxmlformats.org/officeDocument/2006/relationships/tags" Target="../tags/tag44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42.xml"/><Relationship Id="rId4" Type="http://schemas.openxmlformats.org/officeDocument/2006/relationships/tags" Target="../tags/tag443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6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95.vml"/><Relationship Id="rId2" Type="http://schemas.openxmlformats.org/officeDocument/2006/relationships/tags" Target="../tags/tag44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445.xml"/><Relationship Id="rId4" Type="http://schemas.openxmlformats.org/officeDocument/2006/relationships/tags" Target="../tags/tag446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7.bin"/><Relationship Id="rId7" Type="http://schemas.openxmlformats.org/officeDocument/2006/relationships/image" Target="../media/image4.emf"/><Relationship Id="rId8" Type="http://schemas.openxmlformats.org/officeDocument/2006/relationships/image" Target="../media/image5.jpg"/><Relationship Id="rId1" Type="http://schemas.openxmlformats.org/officeDocument/2006/relationships/vmlDrawing" Target="../drawings/vmlDrawing96.vml"/><Relationship Id="rId2" Type="http://schemas.openxmlformats.org/officeDocument/2006/relationships/tags" Target="../tags/tag44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15.jpg"/><Relationship Id="rId5" Type="http://schemas.openxmlformats.org/officeDocument/2006/relationships/oleObject" Target="../embeddings/oleObject9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8.vml"/><Relationship Id="rId2" Type="http://schemas.openxmlformats.org/officeDocument/2006/relationships/tags" Target="../tags/tag47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tags" Target="../tags/tag480.xml"/><Relationship Id="rId2" Type="http://schemas.openxmlformats.org/officeDocument/2006/relationships/slideMaster" Target="../slideMasters/slideMaster2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tags" Target="../tags/tag481.xml"/><Relationship Id="rId2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10.vml"/><Relationship Id="rId2" Type="http://schemas.openxmlformats.org/officeDocument/2006/relationships/tags" Target="../tags/tag4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1.jpg"/><Relationship Id="rId5" Type="http://schemas.openxmlformats.org/officeDocument/2006/relationships/oleObject" Target="../embeddings/oleObject1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9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1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4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7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5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3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3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1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3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7:32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6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9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1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1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3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5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7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1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3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6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8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0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5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394523" y="6435725"/>
            <a:ext cx="278354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9B3935E5-79B1-443B-BACC-211F10B7069F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62463728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1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4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6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3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5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7:32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7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1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9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6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7:32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94042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1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48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8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7:32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3.xml"/><Relationship Id="rId20" Type="http://schemas.openxmlformats.org/officeDocument/2006/relationships/tags" Target="../tags/tag14.xml"/><Relationship Id="rId21" Type="http://schemas.openxmlformats.org/officeDocument/2006/relationships/tags" Target="../tags/tag15.xml"/><Relationship Id="rId22" Type="http://schemas.openxmlformats.org/officeDocument/2006/relationships/tags" Target="../tags/tag16.xml"/><Relationship Id="rId23" Type="http://schemas.openxmlformats.org/officeDocument/2006/relationships/tags" Target="../tags/tag17.xml"/><Relationship Id="rId24" Type="http://schemas.openxmlformats.org/officeDocument/2006/relationships/tags" Target="../tags/tag18.xml"/><Relationship Id="rId25" Type="http://schemas.openxmlformats.org/officeDocument/2006/relationships/oleObject" Target="../embeddings/oleObject1.bin"/><Relationship Id="rId26" Type="http://schemas.openxmlformats.org/officeDocument/2006/relationships/image" Target="../media/image1.emf"/><Relationship Id="rId10" Type="http://schemas.openxmlformats.org/officeDocument/2006/relationships/tags" Target="../tags/tag4.xml"/><Relationship Id="rId11" Type="http://schemas.openxmlformats.org/officeDocument/2006/relationships/tags" Target="../tags/tag5.xml"/><Relationship Id="rId12" Type="http://schemas.openxmlformats.org/officeDocument/2006/relationships/tags" Target="../tags/tag6.xml"/><Relationship Id="rId13" Type="http://schemas.openxmlformats.org/officeDocument/2006/relationships/tags" Target="../tags/tag7.xml"/><Relationship Id="rId14" Type="http://schemas.openxmlformats.org/officeDocument/2006/relationships/tags" Target="../tags/tag8.xml"/><Relationship Id="rId15" Type="http://schemas.openxmlformats.org/officeDocument/2006/relationships/tags" Target="../tags/tag9.xml"/><Relationship Id="rId16" Type="http://schemas.openxmlformats.org/officeDocument/2006/relationships/tags" Target="../tags/tag10.xml"/><Relationship Id="rId17" Type="http://schemas.openxmlformats.org/officeDocument/2006/relationships/tags" Target="../tags/tag11.xml"/><Relationship Id="rId18" Type="http://schemas.openxmlformats.org/officeDocument/2006/relationships/tags" Target="../tags/tag12.xml"/><Relationship Id="rId1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9.xml"/><Relationship Id="rId20" Type="http://schemas.openxmlformats.org/officeDocument/2006/relationships/tags" Target="../tags/tag210.xml"/><Relationship Id="rId21" Type="http://schemas.openxmlformats.org/officeDocument/2006/relationships/tags" Target="../tags/tag211.xml"/><Relationship Id="rId22" Type="http://schemas.openxmlformats.org/officeDocument/2006/relationships/tags" Target="../tags/tag212.xml"/><Relationship Id="rId23" Type="http://schemas.openxmlformats.org/officeDocument/2006/relationships/tags" Target="../tags/tag213.xml"/><Relationship Id="rId24" Type="http://schemas.openxmlformats.org/officeDocument/2006/relationships/oleObject" Target="../embeddings/oleObject44.bin"/><Relationship Id="rId25" Type="http://schemas.openxmlformats.org/officeDocument/2006/relationships/image" Target="../media/image1.emf"/><Relationship Id="rId10" Type="http://schemas.openxmlformats.org/officeDocument/2006/relationships/tags" Target="../tags/tag200.xml"/><Relationship Id="rId11" Type="http://schemas.openxmlformats.org/officeDocument/2006/relationships/tags" Target="../tags/tag201.xml"/><Relationship Id="rId12" Type="http://schemas.openxmlformats.org/officeDocument/2006/relationships/tags" Target="../tags/tag202.xml"/><Relationship Id="rId13" Type="http://schemas.openxmlformats.org/officeDocument/2006/relationships/tags" Target="../tags/tag203.xml"/><Relationship Id="rId14" Type="http://schemas.openxmlformats.org/officeDocument/2006/relationships/tags" Target="../tags/tag204.xml"/><Relationship Id="rId15" Type="http://schemas.openxmlformats.org/officeDocument/2006/relationships/tags" Target="../tags/tag205.xml"/><Relationship Id="rId16" Type="http://schemas.openxmlformats.org/officeDocument/2006/relationships/tags" Target="../tags/tag206.xml"/><Relationship Id="rId17" Type="http://schemas.openxmlformats.org/officeDocument/2006/relationships/tags" Target="../tags/tag207.xml"/><Relationship Id="rId18" Type="http://schemas.openxmlformats.org/officeDocument/2006/relationships/tags" Target="../tags/tag208.xml"/><Relationship Id="rId19" Type="http://schemas.openxmlformats.org/officeDocument/2006/relationships/tags" Target="../tags/tag209.xml"/><Relationship Id="rId1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8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4.vml"/><Relationship Id="rId7" Type="http://schemas.openxmlformats.org/officeDocument/2006/relationships/tags" Target="../tags/tag197.xml"/><Relationship Id="rId8" Type="http://schemas.openxmlformats.org/officeDocument/2006/relationships/tags" Target="../tags/tag198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20.xml"/><Relationship Id="rId20" Type="http://schemas.openxmlformats.org/officeDocument/2006/relationships/tags" Target="../tags/tag231.xml"/><Relationship Id="rId21" Type="http://schemas.openxmlformats.org/officeDocument/2006/relationships/tags" Target="../tags/tag232.xml"/><Relationship Id="rId22" Type="http://schemas.openxmlformats.org/officeDocument/2006/relationships/tags" Target="../tags/tag233.xml"/><Relationship Id="rId23" Type="http://schemas.openxmlformats.org/officeDocument/2006/relationships/tags" Target="../tags/tag234.xml"/><Relationship Id="rId24" Type="http://schemas.openxmlformats.org/officeDocument/2006/relationships/oleObject" Target="../embeddings/oleObject49.bin"/><Relationship Id="rId25" Type="http://schemas.openxmlformats.org/officeDocument/2006/relationships/image" Target="../media/image1.emf"/><Relationship Id="rId10" Type="http://schemas.openxmlformats.org/officeDocument/2006/relationships/tags" Target="../tags/tag221.xml"/><Relationship Id="rId11" Type="http://schemas.openxmlformats.org/officeDocument/2006/relationships/tags" Target="../tags/tag222.xml"/><Relationship Id="rId12" Type="http://schemas.openxmlformats.org/officeDocument/2006/relationships/tags" Target="../tags/tag223.xml"/><Relationship Id="rId13" Type="http://schemas.openxmlformats.org/officeDocument/2006/relationships/tags" Target="../tags/tag224.xml"/><Relationship Id="rId14" Type="http://schemas.openxmlformats.org/officeDocument/2006/relationships/tags" Target="../tags/tag225.xml"/><Relationship Id="rId15" Type="http://schemas.openxmlformats.org/officeDocument/2006/relationships/tags" Target="../tags/tag226.xml"/><Relationship Id="rId16" Type="http://schemas.openxmlformats.org/officeDocument/2006/relationships/tags" Target="../tags/tag227.xml"/><Relationship Id="rId17" Type="http://schemas.openxmlformats.org/officeDocument/2006/relationships/tags" Target="../tags/tag228.xml"/><Relationship Id="rId18" Type="http://schemas.openxmlformats.org/officeDocument/2006/relationships/tags" Target="../tags/tag229.xml"/><Relationship Id="rId19" Type="http://schemas.openxmlformats.org/officeDocument/2006/relationships/tags" Target="../tags/tag230.xml"/><Relationship Id="rId1" Type="http://schemas.openxmlformats.org/officeDocument/2006/relationships/slideLayout" Target="../slideLayouts/slideLayout39.xml"/><Relationship Id="rId2" Type="http://schemas.openxmlformats.org/officeDocument/2006/relationships/slideLayout" Target="../slideLayouts/slideLayout40.xml"/><Relationship Id="rId3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2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9.vml"/><Relationship Id="rId7" Type="http://schemas.openxmlformats.org/officeDocument/2006/relationships/tags" Target="../tags/tag218.xml"/><Relationship Id="rId8" Type="http://schemas.openxmlformats.org/officeDocument/2006/relationships/tags" Target="../tags/tag219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1.xml"/><Relationship Id="rId20" Type="http://schemas.openxmlformats.org/officeDocument/2006/relationships/tags" Target="../tags/tag252.xml"/><Relationship Id="rId21" Type="http://schemas.openxmlformats.org/officeDocument/2006/relationships/tags" Target="../tags/tag253.xml"/><Relationship Id="rId22" Type="http://schemas.openxmlformats.org/officeDocument/2006/relationships/tags" Target="../tags/tag254.xml"/><Relationship Id="rId23" Type="http://schemas.openxmlformats.org/officeDocument/2006/relationships/tags" Target="../tags/tag255.xml"/><Relationship Id="rId24" Type="http://schemas.openxmlformats.org/officeDocument/2006/relationships/oleObject" Target="../embeddings/oleObject54.bin"/><Relationship Id="rId25" Type="http://schemas.openxmlformats.org/officeDocument/2006/relationships/image" Target="../media/image1.emf"/><Relationship Id="rId10" Type="http://schemas.openxmlformats.org/officeDocument/2006/relationships/tags" Target="../tags/tag242.xml"/><Relationship Id="rId11" Type="http://schemas.openxmlformats.org/officeDocument/2006/relationships/tags" Target="../tags/tag243.xml"/><Relationship Id="rId12" Type="http://schemas.openxmlformats.org/officeDocument/2006/relationships/tags" Target="../tags/tag244.xml"/><Relationship Id="rId13" Type="http://schemas.openxmlformats.org/officeDocument/2006/relationships/tags" Target="../tags/tag245.xml"/><Relationship Id="rId14" Type="http://schemas.openxmlformats.org/officeDocument/2006/relationships/tags" Target="../tags/tag246.xml"/><Relationship Id="rId15" Type="http://schemas.openxmlformats.org/officeDocument/2006/relationships/tags" Target="../tags/tag247.xml"/><Relationship Id="rId16" Type="http://schemas.openxmlformats.org/officeDocument/2006/relationships/tags" Target="../tags/tag248.xml"/><Relationship Id="rId17" Type="http://schemas.openxmlformats.org/officeDocument/2006/relationships/tags" Target="../tags/tag249.xml"/><Relationship Id="rId18" Type="http://schemas.openxmlformats.org/officeDocument/2006/relationships/tags" Target="../tags/tag250.xml"/><Relationship Id="rId19" Type="http://schemas.openxmlformats.org/officeDocument/2006/relationships/tags" Target="../tags/tag251.xml"/><Relationship Id="rId1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4.xml"/><Relationship Id="rId3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6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4.vml"/><Relationship Id="rId7" Type="http://schemas.openxmlformats.org/officeDocument/2006/relationships/tags" Target="../tags/tag239.xml"/><Relationship Id="rId8" Type="http://schemas.openxmlformats.org/officeDocument/2006/relationships/tags" Target="../tags/tag240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2.xml"/><Relationship Id="rId20" Type="http://schemas.openxmlformats.org/officeDocument/2006/relationships/tags" Target="../tags/tag273.xml"/><Relationship Id="rId21" Type="http://schemas.openxmlformats.org/officeDocument/2006/relationships/tags" Target="../tags/tag274.xml"/><Relationship Id="rId22" Type="http://schemas.openxmlformats.org/officeDocument/2006/relationships/tags" Target="../tags/tag275.xml"/><Relationship Id="rId23" Type="http://schemas.openxmlformats.org/officeDocument/2006/relationships/tags" Target="../tags/tag276.xml"/><Relationship Id="rId24" Type="http://schemas.openxmlformats.org/officeDocument/2006/relationships/oleObject" Target="../embeddings/oleObject59.bin"/><Relationship Id="rId25" Type="http://schemas.openxmlformats.org/officeDocument/2006/relationships/image" Target="../media/image1.emf"/><Relationship Id="rId10" Type="http://schemas.openxmlformats.org/officeDocument/2006/relationships/tags" Target="../tags/tag263.xml"/><Relationship Id="rId11" Type="http://schemas.openxmlformats.org/officeDocument/2006/relationships/tags" Target="../tags/tag264.xml"/><Relationship Id="rId12" Type="http://schemas.openxmlformats.org/officeDocument/2006/relationships/tags" Target="../tags/tag265.xml"/><Relationship Id="rId13" Type="http://schemas.openxmlformats.org/officeDocument/2006/relationships/tags" Target="../tags/tag266.xml"/><Relationship Id="rId14" Type="http://schemas.openxmlformats.org/officeDocument/2006/relationships/tags" Target="../tags/tag267.xml"/><Relationship Id="rId15" Type="http://schemas.openxmlformats.org/officeDocument/2006/relationships/tags" Target="../tags/tag268.xml"/><Relationship Id="rId16" Type="http://schemas.openxmlformats.org/officeDocument/2006/relationships/tags" Target="../tags/tag269.xml"/><Relationship Id="rId17" Type="http://schemas.openxmlformats.org/officeDocument/2006/relationships/tags" Target="../tags/tag270.xml"/><Relationship Id="rId18" Type="http://schemas.openxmlformats.org/officeDocument/2006/relationships/tags" Target="../tags/tag271.xml"/><Relationship Id="rId19" Type="http://schemas.openxmlformats.org/officeDocument/2006/relationships/tags" Target="../tags/tag272.xml"/><Relationship Id="rId1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9.xml"/><Relationship Id="rId4" Type="http://schemas.openxmlformats.org/officeDocument/2006/relationships/slideLayout" Target="../slideLayouts/slideLayout50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9.vml"/><Relationship Id="rId7" Type="http://schemas.openxmlformats.org/officeDocument/2006/relationships/tags" Target="../tags/tag260.xml"/><Relationship Id="rId8" Type="http://schemas.openxmlformats.org/officeDocument/2006/relationships/tags" Target="../tags/tag261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3.xml"/><Relationship Id="rId20" Type="http://schemas.openxmlformats.org/officeDocument/2006/relationships/tags" Target="../tags/tag294.xml"/><Relationship Id="rId21" Type="http://schemas.openxmlformats.org/officeDocument/2006/relationships/tags" Target="../tags/tag295.xml"/><Relationship Id="rId22" Type="http://schemas.openxmlformats.org/officeDocument/2006/relationships/tags" Target="../tags/tag296.xml"/><Relationship Id="rId23" Type="http://schemas.openxmlformats.org/officeDocument/2006/relationships/tags" Target="../tags/tag297.xml"/><Relationship Id="rId24" Type="http://schemas.openxmlformats.org/officeDocument/2006/relationships/oleObject" Target="../embeddings/oleObject64.bin"/><Relationship Id="rId25" Type="http://schemas.openxmlformats.org/officeDocument/2006/relationships/image" Target="../media/image1.emf"/><Relationship Id="rId10" Type="http://schemas.openxmlformats.org/officeDocument/2006/relationships/tags" Target="../tags/tag284.xml"/><Relationship Id="rId11" Type="http://schemas.openxmlformats.org/officeDocument/2006/relationships/tags" Target="../tags/tag285.xml"/><Relationship Id="rId12" Type="http://schemas.openxmlformats.org/officeDocument/2006/relationships/tags" Target="../tags/tag286.xml"/><Relationship Id="rId13" Type="http://schemas.openxmlformats.org/officeDocument/2006/relationships/tags" Target="../tags/tag287.xml"/><Relationship Id="rId14" Type="http://schemas.openxmlformats.org/officeDocument/2006/relationships/tags" Target="../tags/tag288.xml"/><Relationship Id="rId15" Type="http://schemas.openxmlformats.org/officeDocument/2006/relationships/tags" Target="../tags/tag289.xml"/><Relationship Id="rId16" Type="http://schemas.openxmlformats.org/officeDocument/2006/relationships/tags" Target="../tags/tag290.xml"/><Relationship Id="rId17" Type="http://schemas.openxmlformats.org/officeDocument/2006/relationships/tags" Target="../tags/tag291.xml"/><Relationship Id="rId18" Type="http://schemas.openxmlformats.org/officeDocument/2006/relationships/tags" Target="../tags/tag292.xml"/><Relationship Id="rId19" Type="http://schemas.openxmlformats.org/officeDocument/2006/relationships/tags" Target="../tags/tag293.xml"/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4.vml"/><Relationship Id="rId7" Type="http://schemas.openxmlformats.org/officeDocument/2006/relationships/tags" Target="../tags/tag281.xml"/><Relationship Id="rId8" Type="http://schemas.openxmlformats.org/officeDocument/2006/relationships/tags" Target="../tags/tag282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4.xml"/><Relationship Id="rId20" Type="http://schemas.openxmlformats.org/officeDocument/2006/relationships/tags" Target="../tags/tag315.xml"/><Relationship Id="rId21" Type="http://schemas.openxmlformats.org/officeDocument/2006/relationships/tags" Target="../tags/tag316.xml"/><Relationship Id="rId22" Type="http://schemas.openxmlformats.org/officeDocument/2006/relationships/tags" Target="../tags/tag317.xml"/><Relationship Id="rId23" Type="http://schemas.openxmlformats.org/officeDocument/2006/relationships/tags" Target="../tags/tag318.xml"/><Relationship Id="rId24" Type="http://schemas.openxmlformats.org/officeDocument/2006/relationships/oleObject" Target="../embeddings/oleObject69.bin"/><Relationship Id="rId25" Type="http://schemas.openxmlformats.org/officeDocument/2006/relationships/image" Target="../media/image1.emf"/><Relationship Id="rId10" Type="http://schemas.openxmlformats.org/officeDocument/2006/relationships/tags" Target="../tags/tag305.xml"/><Relationship Id="rId11" Type="http://schemas.openxmlformats.org/officeDocument/2006/relationships/tags" Target="../tags/tag306.xml"/><Relationship Id="rId12" Type="http://schemas.openxmlformats.org/officeDocument/2006/relationships/tags" Target="../tags/tag307.xml"/><Relationship Id="rId13" Type="http://schemas.openxmlformats.org/officeDocument/2006/relationships/tags" Target="../tags/tag308.xml"/><Relationship Id="rId14" Type="http://schemas.openxmlformats.org/officeDocument/2006/relationships/tags" Target="../tags/tag309.xml"/><Relationship Id="rId15" Type="http://schemas.openxmlformats.org/officeDocument/2006/relationships/tags" Target="../tags/tag310.xml"/><Relationship Id="rId16" Type="http://schemas.openxmlformats.org/officeDocument/2006/relationships/tags" Target="../tags/tag311.xml"/><Relationship Id="rId17" Type="http://schemas.openxmlformats.org/officeDocument/2006/relationships/tags" Target="../tags/tag312.xml"/><Relationship Id="rId18" Type="http://schemas.openxmlformats.org/officeDocument/2006/relationships/tags" Target="../tags/tag313.xml"/><Relationship Id="rId19" Type="http://schemas.openxmlformats.org/officeDocument/2006/relationships/tags" Target="../tags/tag314.xml"/><Relationship Id="rId1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8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9.vml"/><Relationship Id="rId7" Type="http://schemas.openxmlformats.org/officeDocument/2006/relationships/tags" Target="../tags/tag302.xml"/><Relationship Id="rId8" Type="http://schemas.openxmlformats.org/officeDocument/2006/relationships/tags" Target="../tags/tag303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5.xml"/><Relationship Id="rId20" Type="http://schemas.openxmlformats.org/officeDocument/2006/relationships/tags" Target="../tags/tag336.xml"/><Relationship Id="rId21" Type="http://schemas.openxmlformats.org/officeDocument/2006/relationships/tags" Target="../tags/tag337.xml"/><Relationship Id="rId22" Type="http://schemas.openxmlformats.org/officeDocument/2006/relationships/tags" Target="../tags/tag338.xml"/><Relationship Id="rId23" Type="http://schemas.openxmlformats.org/officeDocument/2006/relationships/tags" Target="../tags/tag339.xml"/><Relationship Id="rId24" Type="http://schemas.openxmlformats.org/officeDocument/2006/relationships/oleObject" Target="../embeddings/oleObject74.bin"/><Relationship Id="rId25" Type="http://schemas.openxmlformats.org/officeDocument/2006/relationships/image" Target="../media/image1.emf"/><Relationship Id="rId10" Type="http://schemas.openxmlformats.org/officeDocument/2006/relationships/tags" Target="../tags/tag326.xml"/><Relationship Id="rId11" Type="http://schemas.openxmlformats.org/officeDocument/2006/relationships/tags" Target="../tags/tag327.xml"/><Relationship Id="rId12" Type="http://schemas.openxmlformats.org/officeDocument/2006/relationships/tags" Target="../tags/tag328.xml"/><Relationship Id="rId13" Type="http://schemas.openxmlformats.org/officeDocument/2006/relationships/tags" Target="../tags/tag329.xml"/><Relationship Id="rId14" Type="http://schemas.openxmlformats.org/officeDocument/2006/relationships/tags" Target="../tags/tag330.xml"/><Relationship Id="rId15" Type="http://schemas.openxmlformats.org/officeDocument/2006/relationships/tags" Target="../tags/tag331.xml"/><Relationship Id="rId16" Type="http://schemas.openxmlformats.org/officeDocument/2006/relationships/tags" Target="../tags/tag332.xml"/><Relationship Id="rId17" Type="http://schemas.openxmlformats.org/officeDocument/2006/relationships/tags" Target="../tags/tag333.xml"/><Relationship Id="rId18" Type="http://schemas.openxmlformats.org/officeDocument/2006/relationships/tags" Target="../tags/tag334.xml"/><Relationship Id="rId19" Type="http://schemas.openxmlformats.org/officeDocument/2006/relationships/tags" Target="../tags/tag335.xml"/><Relationship Id="rId1" Type="http://schemas.openxmlformats.org/officeDocument/2006/relationships/slideLayout" Target="../slideLayouts/slideLayout59.xml"/><Relationship Id="rId2" Type="http://schemas.openxmlformats.org/officeDocument/2006/relationships/slideLayout" Target="../slideLayouts/slideLayout60.xml"/><Relationship Id="rId3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2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4.vml"/><Relationship Id="rId7" Type="http://schemas.openxmlformats.org/officeDocument/2006/relationships/tags" Target="../tags/tag323.xml"/><Relationship Id="rId8" Type="http://schemas.openxmlformats.org/officeDocument/2006/relationships/tags" Target="../tags/tag324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6.xml"/><Relationship Id="rId20" Type="http://schemas.openxmlformats.org/officeDocument/2006/relationships/tags" Target="../tags/tag357.xml"/><Relationship Id="rId21" Type="http://schemas.openxmlformats.org/officeDocument/2006/relationships/tags" Target="../tags/tag358.xml"/><Relationship Id="rId22" Type="http://schemas.openxmlformats.org/officeDocument/2006/relationships/tags" Target="../tags/tag359.xml"/><Relationship Id="rId23" Type="http://schemas.openxmlformats.org/officeDocument/2006/relationships/tags" Target="../tags/tag360.xml"/><Relationship Id="rId24" Type="http://schemas.openxmlformats.org/officeDocument/2006/relationships/oleObject" Target="../embeddings/oleObject79.bin"/><Relationship Id="rId25" Type="http://schemas.openxmlformats.org/officeDocument/2006/relationships/image" Target="../media/image1.emf"/><Relationship Id="rId10" Type="http://schemas.openxmlformats.org/officeDocument/2006/relationships/tags" Target="../tags/tag347.xml"/><Relationship Id="rId11" Type="http://schemas.openxmlformats.org/officeDocument/2006/relationships/tags" Target="../tags/tag348.xml"/><Relationship Id="rId12" Type="http://schemas.openxmlformats.org/officeDocument/2006/relationships/tags" Target="../tags/tag349.xml"/><Relationship Id="rId13" Type="http://schemas.openxmlformats.org/officeDocument/2006/relationships/tags" Target="../tags/tag350.xml"/><Relationship Id="rId14" Type="http://schemas.openxmlformats.org/officeDocument/2006/relationships/tags" Target="../tags/tag351.xml"/><Relationship Id="rId15" Type="http://schemas.openxmlformats.org/officeDocument/2006/relationships/tags" Target="../tags/tag352.xml"/><Relationship Id="rId16" Type="http://schemas.openxmlformats.org/officeDocument/2006/relationships/tags" Target="../tags/tag353.xml"/><Relationship Id="rId17" Type="http://schemas.openxmlformats.org/officeDocument/2006/relationships/tags" Target="../tags/tag354.xml"/><Relationship Id="rId18" Type="http://schemas.openxmlformats.org/officeDocument/2006/relationships/tags" Target="../tags/tag355.xml"/><Relationship Id="rId19" Type="http://schemas.openxmlformats.org/officeDocument/2006/relationships/tags" Target="../tags/tag356.xml"/><Relationship Id="rId1" Type="http://schemas.openxmlformats.org/officeDocument/2006/relationships/slideLayout" Target="../slideLayouts/slideLayout63.xml"/><Relationship Id="rId2" Type="http://schemas.openxmlformats.org/officeDocument/2006/relationships/slideLayout" Target="../slideLayouts/slideLayout64.xml"/><Relationship Id="rId3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6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9.vml"/><Relationship Id="rId7" Type="http://schemas.openxmlformats.org/officeDocument/2006/relationships/tags" Target="../tags/tag344.xml"/><Relationship Id="rId8" Type="http://schemas.openxmlformats.org/officeDocument/2006/relationships/tags" Target="../tags/tag345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8.xml"/><Relationship Id="rId20" Type="http://schemas.openxmlformats.org/officeDocument/2006/relationships/tags" Target="../tags/tag379.xml"/><Relationship Id="rId21" Type="http://schemas.openxmlformats.org/officeDocument/2006/relationships/tags" Target="../tags/tag380.xml"/><Relationship Id="rId22" Type="http://schemas.openxmlformats.org/officeDocument/2006/relationships/tags" Target="../tags/tag381.xml"/><Relationship Id="rId23" Type="http://schemas.openxmlformats.org/officeDocument/2006/relationships/oleObject" Target="../embeddings/oleObject84.bin"/><Relationship Id="rId24" Type="http://schemas.openxmlformats.org/officeDocument/2006/relationships/image" Target="../media/image1.emf"/><Relationship Id="rId10" Type="http://schemas.openxmlformats.org/officeDocument/2006/relationships/tags" Target="../tags/tag369.xml"/><Relationship Id="rId11" Type="http://schemas.openxmlformats.org/officeDocument/2006/relationships/tags" Target="../tags/tag370.xml"/><Relationship Id="rId12" Type="http://schemas.openxmlformats.org/officeDocument/2006/relationships/tags" Target="../tags/tag371.xml"/><Relationship Id="rId13" Type="http://schemas.openxmlformats.org/officeDocument/2006/relationships/tags" Target="../tags/tag372.xml"/><Relationship Id="rId14" Type="http://schemas.openxmlformats.org/officeDocument/2006/relationships/tags" Target="../tags/tag373.xml"/><Relationship Id="rId15" Type="http://schemas.openxmlformats.org/officeDocument/2006/relationships/tags" Target="../tags/tag374.xml"/><Relationship Id="rId16" Type="http://schemas.openxmlformats.org/officeDocument/2006/relationships/tags" Target="../tags/tag375.xml"/><Relationship Id="rId17" Type="http://schemas.openxmlformats.org/officeDocument/2006/relationships/tags" Target="../tags/tag376.xml"/><Relationship Id="rId18" Type="http://schemas.openxmlformats.org/officeDocument/2006/relationships/tags" Target="../tags/tag377.xml"/><Relationship Id="rId19" Type="http://schemas.openxmlformats.org/officeDocument/2006/relationships/tags" Target="../tags/tag378.xml"/><Relationship Id="rId1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9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4.vml"/><Relationship Id="rId6" Type="http://schemas.openxmlformats.org/officeDocument/2006/relationships/tags" Target="../tags/tag365.xml"/><Relationship Id="rId7" Type="http://schemas.openxmlformats.org/officeDocument/2006/relationships/tags" Target="../tags/tag366.xml"/><Relationship Id="rId8" Type="http://schemas.openxmlformats.org/officeDocument/2006/relationships/tags" Target="../tags/tag367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7.xml"/><Relationship Id="rId20" Type="http://schemas.openxmlformats.org/officeDocument/2006/relationships/tags" Target="../tags/tag398.xml"/><Relationship Id="rId21" Type="http://schemas.openxmlformats.org/officeDocument/2006/relationships/tags" Target="../tags/tag399.xml"/><Relationship Id="rId22" Type="http://schemas.openxmlformats.org/officeDocument/2006/relationships/tags" Target="../tags/tag400.xml"/><Relationship Id="rId23" Type="http://schemas.openxmlformats.org/officeDocument/2006/relationships/tags" Target="../tags/tag401.xml"/><Relationship Id="rId24" Type="http://schemas.openxmlformats.org/officeDocument/2006/relationships/oleObject" Target="../embeddings/oleObject88.bin"/><Relationship Id="rId25" Type="http://schemas.openxmlformats.org/officeDocument/2006/relationships/image" Target="../media/image1.emf"/><Relationship Id="rId10" Type="http://schemas.openxmlformats.org/officeDocument/2006/relationships/tags" Target="../tags/tag388.xml"/><Relationship Id="rId11" Type="http://schemas.openxmlformats.org/officeDocument/2006/relationships/tags" Target="../tags/tag389.xml"/><Relationship Id="rId12" Type="http://schemas.openxmlformats.org/officeDocument/2006/relationships/tags" Target="../tags/tag390.xml"/><Relationship Id="rId13" Type="http://schemas.openxmlformats.org/officeDocument/2006/relationships/tags" Target="../tags/tag391.xml"/><Relationship Id="rId14" Type="http://schemas.openxmlformats.org/officeDocument/2006/relationships/tags" Target="../tags/tag392.xml"/><Relationship Id="rId15" Type="http://schemas.openxmlformats.org/officeDocument/2006/relationships/tags" Target="../tags/tag393.xml"/><Relationship Id="rId16" Type="http://schemas.openxmlformats.org/officeDocument/2006/relationships/tags" Target="../tags/tag394.xml"/><Relationship Id="rId17" Type="http://schemas.openxmlformats.org/officeDocument/2006/relationships/tags" Target="../tags/tag395.xml"/><Relationship Id="rId18" Type="http://schemas.openxmlformats.org/officeDocument/2006/relationships/tags" Target="../tags/tag396.xml"/><Relationship Id="rId19" Type="http://schemas.openxmlformats.org/officeDocument/2006/relationships/tags" Target="../tags/tag397.xml"/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8.vml"/><Relationship Id="rId7" Type="http://schemas.openxmlformats.org/officeDocument/2006/relationships/tags" Target="../tags/tag385.xml"/><Relationship Id="rId8" Type="http://schemas.openxmlformats.org/officeDocument/2006/relationships/tags" Target="../tags/tag386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7.xml"/><Relationship Id="rId20" Type="http://schemas.openxmlformats.org/officeDocument/2006/relationships/tags" Target="../tags/tag38.xml"/><Relationship Id="rId21" Type="http://schemas.openxmlformats.org/officeDocument/2006/relationships/tags" Target="../tags/tag39.xml"/><Relationship Id="rId22" Type="http://schemas.openxmlformats.org/officeDocument/2006/relationships/tags" Target="../tags/tag40.xml"/><Relationship Id="rId23" Type="http://schemas.openxmlformats.org/officeDocument/2006/relationships/oleObject" Target="../embeddings/oleObject7.bin"/><Relationship Id="rId24" Type="http://schemas.openxmlformats.org/officeDocument/2006/relationships/image" Target="../media/image1.emf"/><Relationship Id="rId10" Type="http://schemas.openxmlformats.org/officeDocument/2006/relationships/tags" Target="../tags/tag28.xml"/><Relationship Id="rId11" Type="http://schemas.openxmlformats.org/officeDocument/2006/relationships/tags" Target="../tags/tag29.xml"/><Relationship Id="rId12" Type="http://schemas.openxmlformats.org/officeDocument/2006/relationships/tags" Target="../tags/tag30.xml"/><Relationship Id="rId13" Type="http://schemas.openxmlformats.org/officeDocument/2006/relationships/tags" Target="../tags/tag31.xml"/><Relationship Id="rId14" Type="http://schemas.openxmlformats.org/officeDocument/2006/relationships/tags" Target="../tags/tag32.xml"/><Relationship Id="rId15" Type="http://schemas.openxmlformats.org/officeDocument/2006/relationships/tags" Target="../tags/tag33.xml"/><Relationship Id="rId16" Type="http://schemas.openxmlformats.org/officeDocument/2006/relationships/tags" Target="../tags/tag34.xml"/><Relationship Id="rId17" Type="http://schemas.openxmlformats.org/officeDocument/2006/relationships/tags" Target="../tags/tag35.xml"/><Relationship Id="rId18" Type="http://schemas.openxmlformats.org/officeDocument/2006/relationships/tags" Target="../tags/tag36.xml"/><Relationship Id="rId19" Type="http://schemas.openxmlformats.org/officeDocument/2006/relationships/tags" Target="../tags/tag37.xml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Relationship Id="rId3" Type="http://schemas.openxmlformats.org/officeDocument/2006/relationships/slideLayout" Target="../slideLayouts/slideLayout8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7.vml"/><Relationship Id="rId6" Type="http://schemas.openxmlformats.org/officeDocument/2006/relationships/tags" Target="../tags/tag24.xml"/><Relationship Id="rId7" Type="http://schemas.openxmlformats.org/officeDocument/2006/relationships/tags" Target="../tags/tag25.xml"/><Relationship Id="rId8" Type="http://schemas.openxmlformats.org/officeDocument/2006/relationships/tags" Target="../tags/tag26.xml"/></Relationships>
</file>

<file path=ppt/slideMasters/_rels/slideMaster20.xml.rels><?xml version="1.0" encoding="UTF-8" standalone="yes"?>
<Relationships xmlns="http://schemas.openxmlformats.org/package/2006/relationships"><Relationship Id="rId20" Type="http://schemas.openxmlformats.org/officeDocument/2006/relationships/tags" Target="../tags/tag420.xml"/><Relationship Id="rId21" Type="http://schemas.openxmlformats.org/officeDocument/2006/relationships/tags" Target="../tags/tag421.xml"/><Relationship Id="rId22" Type="http://schemas.openxmlformats.org/officeDocument/2006/relationships/tags" Target="../tags/tag422.xml"/><Relationship Id="rId23" Type="http://schemas.openxmlformats.org/officeDocument/2006/relationships/tags" Target="../tags/tag423.xml"/><Relationship Id="rId24" Type="http://schemas.openxmlformats.org/officeDocument/2006/relationships/tags" Target="../tags/tag424.xml"/><Relationship Id="rId25" Type="http://schemas.openxmlformats.org/officeDocument/2006/relationships/tags" Target="../tags/tag425.xml"/><Relationship Id="rId26" Type="http://schemas.openxmlformats.org/officeDocument/2006/relationships/tags" Target="../tags/tag426.xml"/><Relationship Id="rId27" Type="http://schemas.openxmlformats.org/officeDocument/2006/relationships/tags" Target="../tags/tag427.xml"/><Relationship Id="rId28" Type="http://schemas.openxmlformats.org/officeDocument/2006/relationships/tags" Target="../tags/tag428.xml"/><Relationship Id="rId29" Type="http://schemas.openxmlformats.org/officeDocument/2006/relationships/tags" Target="../tags/tag429.xml"/><Relationship Id="rId1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6.xml"/><Relationship Id="rId4" Type="http://schemas.openxmlformats.org/officeDocument/2006/relationships/theme" Target="../theme/theme20.xml"/><Relationship Id="rId5" Type="http://schemas.openxmlformats.org/officeDocument/2006/relationships/vmlDrawing" Target="../drawings/vmlDrawing93.vml"/><Relationship Id="rId30" Type="http://schemas.openxmlformats.org/officeDocument/2006/relationships/tags" Target="../tags/tag430.xml"/><Relationship Id="rId31" Type="http://schemas.openxmlformats.org/officeDocument/2006/relationships/tags" Target="../tags/tag431.xml"/><Relationship Id="rId32" Type="http://schemas.openxmlformats.org/officeDocument/2006/relationships/tags" Target="../tags/tag432.xml"/><Relationship Id="rId9" Type="http://schemas.openxmlformats.org/officeDocument/2006/relationships/tags" Target="../tags/tag409.xml"/><Relationship Id="rId6" Type="http://schemas.openxmlformats.org/officeDocument/2006/relationships/tags" Target="../tags/tag406.xml"/><Relationship Id="rId7" Type="http://schemas.openxmlformats.org/officeDocument/2006/relationships/tags" Target="../tags/tag407.xml"/><Relationship Id="rId8" Type="http://schemas.openxmlformats.org/officeDocument/2006/relationships/tags" Target="../tags/tag408.xml"/><Relationship Id="rId33" Type="http://schemas.openxmlformats.org/officeDocument/2006/relationships/tags" Target="../tags/tag433.xml"/><Relationship Id="rId34" Type="http://schemas.openxmlformats.org/officeDocument/2006/relationships/tags" Target="../tags/tag434.xml"/><Relationship Id="rId35" Type="http://schemas.openxmlformats.org/officeDocument/2006/relationships/tags" Target="../tags/tag435.xml"/><Relationship Id="rId36" Type="http://schemas.openxmlformats.org/officeDocument/2006/relationships/tags" Target="../tags/tag436.xml"/><Relationship Id="rId10" Type="http://schemas.openxmlformats.org/officeDocument/2006/relationships/tags" Target="../tags/tag410.xml"/><Relationship Id="rId11" Type="http://schemas.openxmlformats.org/officeDocument/2006/relationships/tags" Target="../tags/tag411.xml"/><Relationship Id="rId12" Type="http://schemas.openxmlformats.org/officeDocument/2006/relationships/tags" Target="../tags/tag412.xml"/><Relationship Id="rId13" Type="http://schemas.openxmlformats.org/officeDocument/2006/relationships/tags" Target="../tags/tag413.xml"/><Relationship Id="rId14" Type="http://schemas.openxmlformats.org/officeDocument/2006/relationships/tags" Target="../tags/tag414.xml"/><Relationship Id="rId15" Type="http://schemas.openxmlformats.org/officeDocument/2006/relationships/tags" Target="../tags/tag415.xml"/><Relationship Id="rId16" Type="http://schemas.openxmlformats.org/officeDocument/2006/relationships/tags" Target="../tags/tag416.xml"/><Relationship Id="rId17" Type="http://schemas.openxmlformats.org/officeDocument/2006/relationships/tags" Target="../tags/tag417.xml"/><Relationship Id="rId18" Type="http://schemas.openxmlformats.org/officeDocument/2006/relationships/tags" Target="../tags/tag418.xml"/><Relationship Id="rId19" Type="http://schemas.openxmlformats.org/officeDocument/2006/relationships/tags" Target="../tags/tag419.xml"/><Relationship Id="rId37" Type="http://schemas.openxmlformats.org/officeDocument/2006/relationships/tags" Target="../tags/tag437.xml"/><Relationship Id="rId38" Type="http://schemas.openxmlformats.org/officeDocument/2006/relationships/tags" Target="../tags/tag438.xml"/><Relationship Id="rId39" Type="http://schemas.openxmlformats.org/officeDocument/2006/relationships/tags" Target="../tags/tag439.xml"/><Relationship Id="rId40" Type="http://schemas.openxmlformats.org/officeDocument/2006/relationships/oleObject" Target="../embeddings/oleObject93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94.bin"/></Relationships>
</file>

<file path=ppt/slideMasters/_rels/slideMaster21.xml.rels><?xml version="1.0" encoding="UTF-8" standalone="yes"?>
<Relationships xmlns="http://schemas.openxmlformats.org/package/2006/relationships"><Relationship Id="rId20" Type="http://schemas.openxmlformats.org/officeDocument/2006/relationships/tags" Target="../tags/tag461.xml"/><Relationship Id="rId21" Type="http://schemas.openxmlformats.org/officeDocument/2006/relationships/tags" Target="../tags/tag462.xml"/><Relationship Id="rId22" Type="http://schemas.openxmlformats.org/officeDocument/2006/relationships/tags" Target="../tags/tag463.xml"/><Relationship Id="rId23" Type="http://schemas.openxmlformats.org/officeDocument/2006/relationships/tags" Target="../tags/tag464.xml"/><Relationship Id="rId24" Type="http://schemas.openxmlformats.org/officeDocument/2006/relationships/tags" Target="../tags/tag465.xml"/><Relationship Id="rId25" Type="http://schemas.openxmlformats.org/officeDocument/2006/relationships/tags" Target="../tags/tag466.xml"/><Relationship Id="rId26" Type="http://schemas.openxmlformats.org/officeDocument/2006/relationships/tags" Target="../tags/tag467.xml"/><Relationship Id="rId27" Type="http://schemas.openxmlformats.org/officeDocument/2006/relationships/tags" Target="../tags/tag468.xml"/><Relationship Id="rId28" Type="http://schemas.openxmlformats.org/officeDocument/2006/relationships/tags" Target="../tags/tag469.xml"/><Relationship Id="rId29" Type="http://schemas.openxmlformats.org/officeDocument/2006/relationships/tags" Target="../tags/tag470.xml"/><Relationship Id="rId1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9.xml"/><Relationship Id="rId4" Type="http://schemas.openxmlformats.org/officeDocument/2006/relationships/theme" Target="../theme/theme21.xml"/><Relationship Id="rId5" Type="http://schemas.openxmlformats.org/officeDocument/2006/relationships/vmlDrawing" Target="../drawings/vmlDrawing97.vml"/><Relationship Id="rId30" Type="http://schemas.openxmlformats.org/officeDocument/2006/relationships/tags" Target="../tags/tag471.xml"/><Relationship Id="rId31" Type="http://schemas.openxmlformats.org/officeDocument/2006/relationships/tags" Target="../tags/tag472.xml"/><Relationship Id="rId32" Type="http://schemas.openxmlformats.org/officeDocument/2006/relationships/tags" Target="../tags/tag473.xml"/><Relationship Id="rId9" Type="http://schemas.openxmlformats.org/officeDocument/2006/relationships/tags" Target="../tags/tag450.xml"/><Relationship Id="rId6" Type="http://schemas.openxmlformats.org/officeDocument/2006/relationships/tags" Target="../tags/tag447.xml"/><Relationship Id="rId7" Type="http://schemas.openxmlformats.org/officeDocument/2006/relationships/tags" Target="../tags/tag448.xml"/><Relationship Id="rId8" Type="http://schemas.openxmlformats.org/officeDocument/2006/relationships/tags" Target="../tags/tag449.xml"/><Relationship Id="rId33" Type="http://schemas.openxmlformats.org/officeDocument/2006/relationships/tags" Target="../tags/tag474.xml"/><Relationship Id="rId34" Type="http://schemas.openxmlformats.org/officeDocument/2006/relationships/tags" Target="../tags/tag475.xml"/><Relationship Id="rId35" Type="http://schemas.openxmlformats.org/officeDocument/2006/relationships/tags" Target="../tags/tag476.xml"/><Relationship Id="rId36" Type="http://schemas.openxmlformats.org/officeDocument/2006/relationships/tags" Target="../tags/tag477.xml"/><Relationship Id="rId10" Type="http://schemas.openxmlformats.org/officeDocument/2006/relationships/tags" Target="../tags/tag451.xml"/><Relationship Id="rId11" Type="http://schemas.openxmlformats.org/officeDocument/2006/relationships/tags" Target="../tags/tag452.xml"/><Relationship Id="rId12" Type="http://schemas.openxmlformats.org/officeDocument/2006/relationships/tags" Target="../tags/tag453.xml"/><Relationship Id="rId13" Type="http://schemas.openxmlformats.org/officeDocument/2006/relationships/tags" Target="../tags/tag454.xml"/><Relationship Id="rId14" Type="http://schemas.openxmlformats.org/officeDocument/2006/relationships/tags" Target="../tags/tag455.xml"/><Relationship Id="rId15" Type="http://schemas.openxmlformats.org/officeDocument/2006/relationships/tags" Target="../tags/tag456.xml"/><Relationship Id="rId16" Type="http://schemas.openxmlformats.org/officeDocument/2006/relationships/tags" Target="../tags/tag457.xml"/><Relationship Id="rId17" Type="http://schemas.openxmlformats.org/officeDocument/2006/relationships/tags" Target="../tags/tag458.xml"/><Relationship Id="rId18" Type="http://schemas.openxmlformats.org/officeDocument/2006/relationships/tags" Target="../tags/tag459.xml"/><Relationship Id="rId19" Type="http://schemas.openxmlformats.org/officeDocument/2006/relationships/tags" Target="../tags/tag460.xml"/><Relationship Id="rId37" Type="http://schemas.openxmlformats.org/officeDocument/2006/relationships/tags" Target="../tags/tag478.xml"/><Relationship Id="rId38" Type="http://schemas.openxmlformats.org/officeDocument/2006/relationships/oleObject" Target="../embeddings/oleObject98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8.xml"/><Relationship Id="rId20" Type="http://schemas.openxmlformats.org/officeDocument/2006/relationships/tags" Target="../tags/tag59.xml"/><Relationship Id="rId21" Type="http://schemas.openxmlformats.org/officeDocument/2006/relationships/tags" Target="../tags/tag60.xml"/><Relationship Id="rId22" Type="http://schemas.openxmlformats.org/officeDocument/2006/relationships/tags" Target="../tags/tag61.xml"/><Relationship Id="rId23" Type="http://schemas.openxmlformats.org/officeDocument/2006/relationships/tags" Target="../tags/tag62.xml"/><Relationship Id="rId24" Type="http://schemas.openxmlformats.org/officeDocument/2006/relationships/oleObject" Target="../embeddings/oleObject11.bin"/><Relationship Id="rId25" Type="http://schemas.openxmlformats.org/officeDocument/2006/relationships/image" Target="../media/image1.emf"/><Relationship Id="rId10" Type="http://schemas.openxmlformats.org/officeDocument/2006/relationships/tags" Target="../tags/tag49.xml"/><Relationship Id="rId11" Type="http://schemas.openxmlformats.org/officeDocument/2006/relationships/tags" Target="../tags/tag50.xml"/><Relationship Id="rId12" Type="http://schemas.openxmlformats.org/officeDocument/2006/relationships/tags" Target="../tags/tag51.xml"/><Relationship Id="rId13" Type="http://schemas.openxmlformats.org/officeDocument/2006/relationships/tags" Target="../tags/tag52.xml"/><Relationship Id="rId14" Type="http://schemas.openxmlformats.org/officeDocument/2006/relationships/tags" Target="../tags/tag53.xml"/><Relationship Id="rId15" Type="http://schemas.openxmlformats.org/officeDocument/2006/relationships/tags" Target="../tags/tag54.xml"/><Relationship Id="rId16" Type="http://schemas.openxmlformats.org/officeDocument/2006/relationships/tags" Target="../tags/tag55.xml"/><Relationship Id="rId17" Type="http://schemas.openxmlformats.org/officeDocument/2006/relationships/tags" Target="../tags/tag56.xml"/><Relationship Id="rId18" Type="http://schemas.openxmlformats.org/officeDocument/2006/relationships/tags" Target="../tags/tag57.xml"/><Relationship Id="rId19" Type="http://schemas.openxmlformats.org/officeDocument/2006/relationships/tags" Target="../tags/tag58.xm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1.vml"/><Relationship Id="rId7" Type="http://schemas.openxmlformats.org/officeDocument/2006/relationships/tags" Target="../tags/tag46.xml"/><Relationship Id="rId8" Type="http://schemas.openxmlformats.org/officeDocument/2006/relationships/tags" Target="../tags/tag47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1.xml"/><Relationship Id="rId20" Type="http://schemas.openxmlformats.org/officeDocument/2006/relationships/tags" Target="../tags/tag82.xml"/><Relationship Id="rId21" Type="http://schemas.openxmlformats.org/officeDocument/2006/relationships/tags" Target="../tags/tag83.xml"/><Relationship Id="rId22" Type="http://schemas.openxmlformats.org/officeDocument/2006/relationships/tags" Target="../tags/tag84.xml"/><Relationship Id="rId23" Type="http://schemas.openxmlformats.org/officeDocument/2006/relationships/tags" Target="../tags/tag85.xml"/><Relationship Id="rId24" Type="http://schemas.openxmlformats.org/officeDocument/2006/relationships/oleObject" Target="../embeddings/oleObject16.bin"/><Relationship Id="rId25" Type="http://schemas.openxmlformats.org/officeDocument/2006/relationships/image" Target="../media/image1.emf"/><Relationship Id="rId10" Type="http://schemas.openxmlformats.org/officeDocument/2006/relationships/tags" Target="../tags/tag72.xml"/><Relationship Id="rId11" Type="http://schemas.openxmlformats.org/officeDocument/2006/relationships/tags" Target="../tags/tag73.xml"/><Relationship Id="rId12" Type="http://schemas.openxmlformats.org/officeDocument/2006/relationships/tags" Target="../tags/tag74.xml"/><Relationship Id="rId13" Type="http://schemas.openxmlformats.org/officeDocument/2006/relationships/tags" Target="../tags/tag75.xml"/><Relationship Id="rId14" Type="http://schemas.openxmlformats.org/officeDocument/2006/relationships/tags" Target="../tags/tag76.xml"/><Relationship Id="rId15" Type="http://schemas.openxmlformats.org/officeDocument/2006/relationships/tags" Target="../tags/tag77.xml"/><Relationship Id="rId16" Type="http://schemas.openxmlformats.org/officeDocument/2006/relationships/tags" Target="../tags/tag78.xml"/><Relationship Id="rId17" Type="http://schemas.openxmlformats.org/officeDocument/2006/relationships/tags" Target="../tags/tag79.xml"/><Relationship Id="rId18" Type="http://schemas.openxmlformats.org/officeDocument/2006/relationships/tags" Target="../tags/tag80.xml"/><Relationship Id="rId19" Type="http://schemas.openxmlformats.org/officeDocument/2006/relationships/tags" Target="../tags/tag81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6.vml"/><Relationship Id="rId7" Type="http://schemas.openxmlformats.org/officeDocument/2006/relationships/tags" Target="../tags/tag69.xml"/><Relationship Id="rId8" Type="http://schemas.openxmlformats.org/officeDocument/2006/relationships/tags" Target="../tags/tag70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3.xml"/><Relationship Id="rId20" Type="http://schemas.openxmlformats.org/officeDocument/2006/relationships/tags" Target="../tags/tag104.xml"/><Relationship Id="rId21" Type="http://schemas.openxmlformats.org/officeDocument/2006/relationships/tags" Target="../tags/tag105.xml"/><Relationship Id="rId22" Type="http://schemas.openxmlformats.org/officeDocument/2006/relationships/tags" Target="../tags/tag106.xml"/><Relationship Id="rId23" Type="http://schemas.openxmlformats.org/officeDocument/2006/relationships/oleObject" Target="../embeddings/oleObject21.bin"/><Relationship Id="rId24" Type="http://schemas.openxmlformats.org/officeDocument/2006/relationships/image" Target="../media/image1.emf"/><Relationship Id="rId10" Type="http://schemas.openxmlformats.org/officeDocument/2006/relationships/tags" Target="../tags/tag94.xml"/><Relationship Id="rId11" Type="http://schemas.openxmlformats.org/officeDocument/2006/relationships/tags" Target="../tags/tag95.xml"/><Relationship Id="rId12" Type="http://schemas.openxmlformats.org/officeDocument/2006/relationships/tags" Target="../tags/tag96.xml"/><Relationship Id="rId13" Type="http://schemas.openxmlformats.org/officeDocument/2006/relationships/tags" Target="../tags/tag97.xml"/><Relationship Id="rId14" Type="http://schemas.openxmlformats.org/officeDocument/2006/relationships/tags" Target="../tags/tag98.xml"/><Relationship Id="rId15" Type="http://schemas.openxmlformats.org/officeDocument/2006/relationships/tags" Target="../tags/tag99.xml"/><Relationship Id="rId16" Type="http://schemas.openxmlformats.org/officeDocument/2006/relationships/tags" Target="../tags/tag100.xml"/><Relationship Id="rId17" Type="http://schemas.openxmlformats.org/officeDocument/2006/relationships/tags" Target="../tags/tag101.xml"/><Relationship Id="rId18" Type="http://schemas.openxmlformats.org/officeDocument/2006/relationships/tags" Target="../tags/tag102.xml"/><Relationship Id="rId19" Type="http://schemas.openxmlformats.org/officeDocument/2006/relationships/tags" Target="../tags/tag103.xml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21.vml"/><Relationship Id="rId6" Type="http://schemas.openxmlformats.org/officeDocument/2006/relationships/tags" Target="../tags/tag90.xml"/><Relationship Id="rId7" Type="http://schemas.openxmlformats.org/officeDocument/2006/relationships/tags" Target="../tags/tag91.xml"/><Relationship Id="rId8" Type="http://schemas.openxmlformats.org/officeDocument/2006/relationships/tags" Target="../tags/tag92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4.xml"/><Relationship Id="rId20" Type="http://schemas.openxmlformats.org/officeDocument/2006/relationships/tags" Target="../tags/tag125.xml"/><Relationship Id="rId21" Type="http://schemas.openxmlformats.org/officeDocument/2006/relationships/tags" Target="../tags/tag126.xml"/><Relationship Id="rId22" Type="http://schemas.openxmlformats.org/officeDocument/2006/relationships/tags" Target="../tags/tag127.xml"/><Relationship Id="rId23" Type="http://schemas.openxmlformats.org/officeDocument/2006/relationships/tags" Target="../tags/tag128.xml"/><Relationship Id="rId24" Type="http://schemas.openxmlformats.org/officeDocument/2006/relationships/oleObject" Target="../embeddings/oleObject25.bin"/><Relationship Id="rId25" Type="http://schemas.openxmlformats.org/officeDocument/2006/relationships/image" Target="../media/image1.emf"/><Relationship Id="rId10" Type="http://schemas.openxmlformats.org/officeDocument/2006/relationships/tags" Target="../tags/tag115.xml"/><Relationship Id="rId11" Type="http://schemas.openxmlformats.org/officeDocument/2006/relationships/tags" Target="../tags/tag116.xml"/><Relationship Id="rId12" Type="http://schemas.openxmlformats.org/officeDocument/2006/relationships/tags" Target="../tags/tag117.xml"/><Relationship Id="rId13" Type="http://schemas.openxmlformats.org/officeDocument/2006/relationships/tags" Target="../tags/tag118.xml"/><Relationship Id="rId14" Type="http://schemas.openxmlformats.org/officeDocument/2006/relationships/tags" Target="../tags/tag119.xml"/><Relationship Id="rId15" Type="http://schemas.openxmlformats.org/officeDocument/2006/relationships/tags" Target="../tags/tag120.xml"/><Relationship Id="rId16" Type="http://schemas.openxmlformats.org/officeDocument/2006/relationships/tags" Target="../tags/tag121.xml"/><Relationship Id="rId17" Type="http://schemas.openxmlformats.org/officeDocument/2006/relationships/tags" Target="../tags/tag122.xml"/><Relationship Id="rId18" Type="http://schemas.openxmlformats.org/officeDocument/2006/relationships/tags" Target="../tags/tag123.xml"/><Relationship Id="rId19" Type="http://schemas.openxmlformats.org/officeDocument/2006/relationships/tags" Target="../tags/tag124.xml"/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3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5.vml"/><Relationship Id="rId7" Type="http://schemas.openxmlformats.org/officeDocument/2006/relationships/tags" Target="../tags/tag112.xml"/><Relationship Id="rId8" Type="http://schemas.openxmlformats.org/officeDocument/2006/relationships/tags" Target="../tags/tag113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6.xml"/><Relationship Id="rId20" Type="http://schemas.openxmlformats.org/officeDocument/2006/relationships/tags" Target="../tags/tag147.xml"/><Relationship Id="rId21" Type="http://schemas.openxmlformats.org/officeDocument/2006/relationships/tags" Target="../tags/tag148.xml"/><Relationship Id="rId22" Type="http://schemas.openxmlformats.org/officeDocument/2006/relationships/tags" Target="../tags/tag149.xml"/><Relationship Id="rId23" Type="http://schemas.openxmlformats.org/officeDocument/2006/relationships/oleObject" Target="../embeddings/oleObject30.bin"/><Relationship Id="rId24" Type="http://schemas.openxmlformats.org/officeDocument/2006/relationships/image" Target="../media/image1.emf"/><Relationship Id="rId10" Type="http://schemas.openxmlformats.org/officeDocument/2006/relationships/tags" Target="../tags/tag137.xml"/><Relationship Id="rId11" Type="http://schemas.openxmlformats.org/officeDocument/2006/relationships/tags" Target="../tags/tag138.xml"/><Relationship Id="rId12" Type="http://schemas.openxmlformats.org/officeDocument/2006/relationships/tags" Target="../tags/tag139.xml"/><Relationship Id="rId13" Type="http://schemas.openxmlformats.org/officeDocument/2006/relationships/tags" Target="../tags/tag140.xml"/><Relationship Id="rId14" Type="http://schemas.openxmlformats.org/officeDocument/2006/relationships/tags" Target="../tags/tag141.xml"/><Relationship Id="rId15" Type="http://schemas.openxmlformats.org/officeDocument/2006/relationships/tags" Target="../tags/tag142.xml"/><Relationship Id="rId16" Type="http://schemas.openxmlformats.org/officeDocument/2006/relationships/tags" Target="../tags/tag143.xml"/><Relationship Id="rId17" Type="http://schemas.openxmlformats.org/officeDocument/2006/relationships/tags" Target="../tags/tag144.xml"/><Relationship Id="rId18" Type="http://schemas.openxmlformats.org/officeDocument/2006/relationships/tags" Target="../tags/tag145.xml"/><Relationship Id="rId19" Type="http://schemas.openxmlformats.org/officeDocument/2006/relationships/tags" Target="../tags/tag146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30.vml"/><Relationship Id="rId6" Type="http://schemas.openxmlformats.org/officeDocument/2006/relationships/tags" Target="../tags/tag133.xml"/><Relationship Id="rId7" Type="http://schemas.openxmlformats.org/officeDocument/2006/relationships/tags" Target="../tags/tag134.xml"/><Relationship Id="rId8" Type="http://schemas.openxmlformats.org/officeDocument/2006/relationships/tags" Target="../tags/tag135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7.xml"/><Relationship Id="rId20" Type="http://schemas.openxmlformats.org/officeDocument/2006/relationships/tags" Target="../tags/tag168.xml"/><Relationship Id="rId21" Type="http://schemas.openxmlformats.org/officeDocument/2006/relationships/tags" Target="../tags/tag169.xml"/><Relationship Id="rId22" Type="http://schemas.openxmlformats.org/officeDocument/2006/relationships/tags" Target="../tags/tag170.xml"/><Relationship Id="rId23" Type="http://schemas.openxmlformats.org/officeDocument/2006/relationships/tags" Target="../tags/tag171.xml"/><Relationship Id="rId24" Type="http://schemas.openxmlformats.org/officeDocument/2006/relationships/oleObject" Target="../embeddings/oleObject34.bin"/><Relationship Id="rId25" Type="http://schemas.openxmlformats.org/officeDocument/2006/relationships/image" Target="../media/image1.emf"/><Relationship Id="rId10" Type="http://schemas.openxmlformats.org/officeDocument/2006/relationships/tags" Target="../tags/tag158.xml"/><Relationship Id="rId11" Type="http://schemas.openxmlformats.org/officeDocument/2006/relationships/tags" Target="../tags/tag159.xml"/><Relationship Id="rId12" Type="http://schemas.openxmlformats.org/officeDocument/2006/relationships/tags" Target="../tags/tag160.xml"/><Relationship Id="rId13" Type="http://schemas.openxmlformats.org/officeDocument/2006/relationships/tags" Target="../tags/tag161.xml"/><Relationship Id="rId14" Type="http://schemas.openxmlformats.org/officeDocument/2006/relationships/tags" Target="../tags/tag162.xml"/><Relationship Id="rId15" Type="http://schemas.openxmlformats.org/officeDocument/2006/relationships/tags" Target="../tags/tag163.xml"/><Relationship Id="rId16" Type="http://schemas.openxmlformats.org/officeDocument/2006/relationships/tags" Target="../tags/tag164.xml"/><Relationship Id="rId17" Type="http://schemas.openxmlformats.org/officeDocument/2006/relationships/tags" Target="../tags/tag165.xml"/><Relationship Id="rId18" Type="http://schemas.openxmlformats.org/officeDocument/2006/relationships/tags" Target="../tags/tag166.xml"/><Relationship Id="rId19" Type="http://schemas.openxmlformats.org/officeDocument/2006/relationships/tags" Target="../tags/tag167.xml"/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9.xml"/><Relationship Id="rId4" Type="http://schemas.openxmlformats.org/officeDocument/2006/relationships/slideLayout" Target="../slideLayouts/slideLayout30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4.vml"/><Relationship Id="rId7" Type="http://schemas.openxmlformats.org/officeDocument/2006/relationships/tags" Target="../tags/tag155.xml"/><Relationship Id="rId8" Type="http://schemas.openxmlformats.org/officeDocument/2006/relationships/tags" Target="../tags/tag156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8.xml"/><Relationship Id="rId20" Type="http://schemas.openxmlformats.org/officeDocument/2006/relationships/tags" Target="../tags/tag189.xml"/><Relationship Id="rId21" Type="http://schemas.openxmlformats.org/officeDocument/2006/relationships/tags" Target="../tags/tag190.xml"/><Relationship Id="rId22" Type="http://schemas.openxmlformats.org/officeDocument/2006/relationships/tags" Target="../tags/tag191.xml"/><Relationship Id="rId23" Type="http://schemas.openxmlformats.org/officeDocument/2006/relationships/tags" Target="../tags/tag192.xml"/><Relationship Id="rId24" Type="http://schemas.openxmlformats.org/officeDocument/2006/relationships/oleObject" Target="../embeddings/oleObject39.bin"/><Relationship Id="rId25" Type="http://schemas.openxmlformats.org/officeDocument/2006/relationships/image" Target="../media/image1.emf"/><Relationship Id="rId10" Type="http://schemas.openxmlformats.org/officeDocument/2006/relationships/tags" Target="../tags/tag179.xml"/><Relationship Id="rId11" Type="http://schemas.openxmlformats.org/officeDocument/2006/relationships/tags" Target="../tags/tag180.xml"/><Relationship Id="rId12" Type="http://schemas.openxmlformats.org/officeDocument/2006/relationships/tags" Target="../tags/tag181.xml"/><Relationship Id="rId13" Type="http://schemas.openxmlformats.org/officeDocument/2006/relationships/tags" Target="../tags/tag182.xml"/><Relationship Id="rId14" Type="http://schemas.openxmlformats.org/officeDocument/2006/relationships/tags" Target="../tags/tag183.xml"/><Relationship Id="rId15" Type="http://schemas.openxmlformats.org/officeDocument/2006/relationships/tags" Target="../tags/tag184.xml"/><Relationship Id="rId16" Type="http://schemas.openxmlformats.org/officeDocument/2006/relationships/tags" Target="../tags/tag185.xml"/><Relationship Id="rId17" Type="http://schemas.openxmlformats.org/officeDocument/2006/relationships/tags" Target="../tags/tag186.xml"/><Relationship Id="rId18" Type="http://schemas.openxmlformats.org/officeDocument/2006/relationships/tags" Target="../tags/tag187.xml"/><Relationship Id="rId19" Type="http://schemas.openxmlformats.org/officeDocument/2006/relationships/tags" Target="../tags/tag188.xml"/><Relationship Id="rId1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2.xml"/><Relationship Id="rId3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4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9.vml"/><Relationship Id="rId7" Type="http://schemas.openxmlformats.org/officeDocument/2006/relationships/tags" Target="../tags/tag176.xml"/><Relationship Id="rId8" Type="http://schemas.openxmlformats.org/officeDocument/2006/relationships/tags" Target="../tags/tag1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47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  <p:sldLayoutId id="2147483790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7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1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5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9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1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0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6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8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4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3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2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174016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22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3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75829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4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3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2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8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3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51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2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7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7:32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83.xml"/><Relationship Id="rId4" Type="http://schemas.openxmlformats.org/officeDocument/2006/relationships/slideLayout" Target="../slideLayouts/slideLayout75.xml"/><Relationship Id="rId5" Type="http://schemas.openxmlformats.org/officeDocument/2006/relationships/oleObject" Target="../embeddings/oleObject100.bin"/><Relationship Id="rId6" Type="http://schemas.openxmlformats.org/officeDocument/2006/relationships/image" Target="../media/image16.emf"/><Relationship Id="rId7" Type="http://schemas.openxmlformats.org/officeDocument/2006/relationships/image" Target="../media/image17.jpeg"/><Relationship Id="rId1" Type="http://schemas.openxmlformats.org/officeDocument/2006/relationships/vmlDrawing" Target="../drawings/vmlDrawing99.vml"/><Relationship Id="rId2" Type="http://schemas.openxmlformats.org/officeDocument/2006/relationships/tags" Target="../tags/tag482.xml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tags" Target="../tags/tag493.xml"/><Relationship Id="rId12" Type="http://schemas.openxmlformats.org/officeDocument/2006/relationships/slideLayout" Target="../slideLayouts/slideLayout75.xml"/><Relationship Id="rId13" Type="http://schemas.openxmlformats.org/officeDocument/2006/relationships/oleObject" Target="../embeddings/oleObject101.bin"/><Relationship Id="rId14" Type="http://schemas.openxmlformats.org/officeDocument/2006/relationships/image" Target="../media/image12.emf"/><Relationship Id="rId1" Type="http://schemas.openxmlformats.org/officeDocument/2006/relationships/vmlDrawing" Target="../drawings/vmlDrawing100.vml"/><Relationship Id="rId2" Type="http://schemas.openxmlformats.org/officeDocument/2006/relationships/tags" Target="../tags/tag484.xml"/><Relationship Id="rId3" Type="http://schemas.openxmlformats.org/officeDocument/2006/relationships/tags" Target="../tags/tag485.xml"/><Relationship Id="rId4" Type="http://schemas.openxmlformats.org/officeDocument/2006/relationships/tags" Target="../tags/tag486.xml"/><Relationship Id="rId5" Type="http://schemas.openxmlformats.org/officeDocument/2006/relationships/tags" Target="../tags/tag487.xml"/><Relationship Id="rId6" Type="http://schemas.openxmlformats.org/officeDocument/2006/relationships/tags" Target="../tags/tag488.xml"/><Relationship Id="rId7" Type="http://schemas.openxmlformats.org/officeDocument/2006/relationships/tags" Target="../tags/tag489.xml"/><Relationship Id="rId8" Type="http://schemas.openxmlformats.org/officeDocument/2006/relationships/tags" Target="../tags/tag490.xml"/><Relationship Id="rId9" Type="http://schemas.openxmlformats.org/officeDocument/2006/relationships/tags" Target="../tags/tag491.xml"/><Relationship Id="rId10" Type="http://schemas.openxmlformats.org/officeDocument/2006/relationships/tags" Target="../tags/tag49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95.xml"/><Relationship Id="rId4" Type="http://schemas.openxmlformats.org/officeDocument/2006/relationships/tags" Target="../tags/tag496.xml"/><Relationship Id="rId5" Type="http://schemas.openxmlformats.org/officeDocument/2006/relationships/slideLayout" Target="../slideLayouts/slideLayout75.xml"/><Relationship Id="rId6" Type="http://schemas.openxmlformats.org/officeDocument/2006/relationships/oleObject" Target="../embeddings/oleObject102.bin"/><Relationship Id="rId7" Type="http://schemas.openxmlformats.org/officeDocument/2006/relationships/image" Target="../media/image18.emf"/><Relationship Id="rId1" Type="http://schemas.openxmlformats.org/officeDocument/2006/relationships/vmlDrawing" Target="../drawings/vmlDrawing101.vml"/><Relationship Id="rId2" Type="http://schemas.openxmlformats.org/officeDocument/2006/relationships/tags" Target="../tags/tag49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98.xml"/><Relationship Id="rId4" Type="http://schemas.openxmlformats.org/officeDocument/2006/relationships/tags" Target="../tags/tag499.xml"/><Relationship Id="rId5" Type="http://schemas.openxmlformats.org/officeDocument/2006/relationships/slideLayout" Target="../slideLayouts/slideLayout75.xml"/><Relationship Id="rId6" Type="http://schemas.openxmlformats.org/officeDocument/2006/relationships/notesSlide" Target="../notesSlides/notesSlide1.xml"/><Relationship Id="rId7" Type="http://schemas.openxmlformats.org/officeDocument/2006/relationships/oleObject" Target="../embeddings/oleObject103.bin"/><Relationship Id="rId8" Type="http://schemas.openxmlformats.org/officeDocument/2006/relationships/image" Target="../media/image12.emf"/><Relationship Id="rId9" Type="http://schemas.openxmlformats.org/officeDocument/2006/relationships/image" Target="../media/image19.png"/><Relationship Id="rId10" Type="http://schemas.openxmlformats.org/officeDocument/2006/relationships/image" Target="../media/image20.png"/><Relationship Id="rId1" Type="http://schemas.openxmlformats.org/officeDocument/2006/relationships/vmlDrawing" Target="../drawings/vmlDrawing102.vml"/><Relationship Id="rId2" Type="http://schemas.openxmlformats.org/officeDocument/2006/relationships/tags" Target="../tags/tag4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6867" name="Object 19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30649723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82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6850" name="Rectangle 2"/>
          <p:cNvSpPr>
            <a:spLocks noGrp="1" noChangeArrowheads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 smtClean="0">
                <a:latin typeface="+mn-lt"/>
              </a:rPr>
              <a:t>Context</a:t>
            </a:r>
            <a:endParaRPr lang="en-US" dirty="0">
              <a:latin typeface="+mn-l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-1" y="1008184"/>
            <a:ext cx="11949113" cy="5090712"/>
            <a:chOff x="-1" y="886210"/>
            <a:chExt cx="11949113" cy="5090712"/>
          </a:xfrm>
        </p:grpSpPr>
        <p:grpSp>
          <p:nvGrpSpPr>
            <p:cNvPr id="4" name="Group 3"/>
            <p:cNvGrpSpPr/>
            <p:nvPr/>
          </p:nvGrpSpPr>
          <p:grpSpPr>
            <a:xfrm>
              <a:off x="158759" y="886210"/>
              <a:ext cx="11491891" cy="3191115"/>
              <a:chOff x="158759" y="886210"/>
              <a:chExt cx="11491891" cy="3191115"/>
            </a:xfrm>
          </p:grpSpPr>
          <p:sp>
            <p:nvSpPr>
              <p:cNvPr id="2" name="Rectangle 1"/>
              <p:cNvSpPr>
                <a:spLocks/>
              </p:cNvSpPr>
              <p:nvPr/>
            </p:nvSpPr>
            <p:spPr>
              <a:xfrm>
                <a:off x="158759" y="886210"/>
                <a:ext cx="11491891" cy="3191115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3285" tIns="46643" rIns="93285" bIns="46643" rtlCol="0" anchor="ctr">
                <a:noAutofit/>
              </a:bodyPr>
              <a:lstStyle/>
              <a:p>
                <a:pPr algn="ctr" defTabSz="4480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0"/>
              <p:cNvSpPr>
                <a:spLocks noChangeArrowheads="1"/>
              </p:cNvSpPr>
              <p:nvPr/>
            </p:nvSpPr>
            <p:spPr bwMode="gray">
              <a:xfrm>
                <a:off x="278271" y="979818"/>
                <a:ext cx="11252866" cy="30038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marL="342900" indent="-342900" defTabSz="895350" eaLnBrk="0" hangingPunct="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193675" indent="-192088" defTabSz="895350" eaLnBrk="0" hangingPunct="0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457200" indent="-261938" defTabSz="895350" eaLnBrk="0" hangingPunct="0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614363" indent="-155575" defTabSz="895350" eaLnBrk="0" hangingPunct="0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746125" indent="-130175" defTabSz="895350" eaLnBrk="0" hangingPunct="0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1203325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1660525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2117725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2574925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lvl="1" eaLnBrk="1" hangingPunct="1">
                  <a:spcBef>
                    <a:spcPct val="80000"/>
                  </a:spcBef>
                </a:pPr>
                <a:r>
                  <a:rPr lang="en-US" dirty="0">
                    <a:latin typeface="+mn-lt"/>
                  </a:rPr>
                  <a:t>This effort was a bottom-up analytics led business planning exercise for a newly acquired asset entering a high innovation CV segment</a:t>
                </a:r>
              </a:p>
              <a:p>
                <a:pPr lvl="1" eaLnBrk="1" hangingPunct="1">
                  <a:spcBef>
                    <a:spcPct val="80000"/>
                  </a:spcBef>
                </a:pPr>
                <a:r>
                  <a:rPr lang="en-US" dirty="0">
                    <a:latin typeface="+mn-lt"/>
                  </a:rPr>
                  <a:t>The client had no clear strategy around account prioritization and rep deployment (strategy was to </a:t>
                </a:r>
                <a:r>
                  <a:rPr lang="en-US" dirty="0" smtClean="0">
                    <a:latin typeface="+mn-lt"/>
                  </a:rPr>
                  <a:t>hire</a:t>
                </a:r>
                <a:br>
                  <a:rPr lang="en-US" dirty="0" smtClean="0">
                    <a:latin typeface="+mn-lt"/>
                  </a:rPr>
                </a:br>
                <a:r>
                  <a:rPr lang="en-US" dirty="0" smtClean="0">
                    <a:latin typeface="+mn-lt"/>
                  </a:rPr>
                  <a:t>“competitor</a:t>
                </a:r>
                <a:r>
                  <a:rPr lang="en-US" dirty="0">
                    <a:latin typeface="+mn-lt"/>
                  </a:rPr>
                  <a:t>” reps)</a:t>
                </a:r>
              </a:p>
              <a:p>
                <a:pPr lvl="1" eaLnBrk="1" hangingPunct="1">
                  <a:spcBef>
                    <a:spcPct val="80000"/>
                  </a:spcBef>
                </a:pPr>
                <a:r>
                  <a:rPr lang="en-US" dirty="0">
                    <a:latin typeface="+mn-lt"/>
                  </a:rPr>
                  <a:t>Company is preparing for innovative CV product launch in high (8+%) growth market, but top 3 incumbents </a:t>
                </a:r>
                <a:r>
                  <a:rPr lang="en-US" dirty="0" smtClean="0">
                    <a:latin typeface="+mn-lt"/>
                  </a:rPr>
                  <a:t>had</a:t>
                </a:r>
                <a:br>
                  <a:rPr lang="en-US" dirty="0" smtClean="0">
                    <a:latin typeface="+mn-lt"/>
                  </a:rPr>
                </a:br>
                <a:r>
                  <a:rPr lang="en-US" dirty="0" smtClean="0">
                    <a:latin typeface="+mn-lt"/>
                  </a:rPr>
                  <a:t>90</a:t>
                </a:r>
                <a:r>
                  <a:rPr lang="en-US" dirty="0">
                    <a:latin typeface="+mn-lt"/>
                  </a:rPr>
                  <a:t>%+ share</a:t>
                </a:r>
              </a:p>
              <a:p>
                <a:pPr lvl="1" eaLnBrk="1" hangingPunct="1">
                  <a:spcBef>
                    <a:spcPct val="80000"/>
                  </a:spcBef>
                </a:pPr>
                <a:r>
                  <a:rPr lang="en-US" dirty="0">
                    <a:latin typeface="+mn-lt"/>
                  </a:rPr>
                  <a:t>Client will be 4</a:t>
                </a:r>
                <a:r>
                  <a:rPr lang="en-US" baseline="30000" dirty="0">
                    <a:latin typeface="+mn-lt"/>
                  </a:rPr>
                  <a:t>th</a:t>
                </a:r>
                <a:r>
                  <a:rPr lang="en-US" dirty="0">
                    <a:latin typeface="+mn-lt"/>
                  </a:rPr>
                  <a:t> to market with a differentiated product and had set an internal goal of reaching 20% market share 3 years after launch</a:t>
                </a:r>
              </a:p>
              <a:p>
                <a:pPr lvl="1" eaLnBrk="1" hangingPunct="1">
                  <a:spcBef>
                    <a:spcPct val="80000"/>
                  </a:spcBef>
                </a:pPr>
                <a:r>
                  <a:rPr lang="en-US" dirty="0">
                    <a:latin typeface="+mn-lt"/>
                  </a:rPr>
                  <a:t>Product is a high physician preference product with limited contracting </a:t>
                </a:r>
                <a:r>
                  <a:rPr lang="en-US" dirty="0" smtClean="0">
                    <a:latin typeface="+mn-lt"/>
                  </a:rPr>
                  <a:t>hurdles</a:t>
                </a:r>
                <a:endParaRPr lang="en-US" dirty="0">
                  <a:latin typeface="+mn-lt"/>
                </a:endParaRPr>
              </a:p>
            </p:txBody>
          </p:sp>
        </p:grpSp>
        <p:pic>
          <p:nvPicPr>
            <p:cNvPr id="7" name="Picture 41" descr="road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855" b="64003"/>
            <a:stretch/>
          </p:blipFill>
          <p:spPr bwMode="auto">
            <a:xfrm>
              <a:off x="-1" y="4170933"/>
              <a:ext cx="11949113" cy="18059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Rectangle 11">
            <a:extLst>
              <a:ext uri="{FF2B5EF4-FFF2-40B4-BE49-F238E27FC236}">
                <a16:creationId xmlns:lc="http://schemas.openxmlformats.org/drawingml/2006/lockedCanvas" xmlns="" xmlns:a16="http://schemas.microsoft.com/office/drawing/2014/main" id="{20B50B48-D989-4F7D-8E3F-5FA60EC08B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68504" y="0"/>
            <a:ext cx="580608" cy="21544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chemeClr val="bg1"/>
                </a:solidFill>
              </a:rPr>
              <a:t>PMP006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lc="http://schemas.openxmlformats.org/drawingml/2006/lockedCanvas" xmlns="" xmlns:a16="http://schemas.microsoft.com/office/drawing/2014/main" id="{DCCD0F96-8780-4AD8-BAA1-78A367E68F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0"/>
            <a:ext cx="3801041" cy="21544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chemeClr val="bg1"/>
                </a:solidFill>
              </a:rPr>
              <a:t>PHARMACEUTICALS AND MEDICAL PRODUCTS (</a:t>
            </a:r>
            <a:r>
              <a:rPr lang="en-US" sz="800" dirty="0" err="1" smtClean="0">
                <a:solidFill>
                  <a:schemeClr val="bg1"/>
                </a:solidFill>
              </a:rPr>
              <a:t>PMP</a:t>
            </a:r>
            <a:r>
              <a:rPr lang="en-US" sz="800" dirty="0" smtClean="0">
                <a:solidFill>
                  <a:schemeClr val="bg1"/>
                </a:solidFill>
              </a:rPr>
              <a:t>) </a:t>
            </a:r>
            <a:r>
              <a:rPr lang="pl-PL" sz="800" dirty="0" smtClean="0">
                <a:solidFill>
                  <a:schemeClr val="bg1"/>
                </a:solidFill>
              </a:rPr>
              <a:t>| </a:t>
            </a:r>
            <a:r>
              <a:rPr lang="pl-PL" sz="800" dirty="0" err="1" smtClean="0">
                <a:solidFill>
                  <a:schemeClr val="bg1"/>
                </a:solidFill>
              </a:rPr>
              <a:t>NORTH</a:t>
            </a:r>
            <a:r>
              <a:rPr lang="pl-PL" sz="800" dirty="0" smtClean="0">
                <a:solidFill>
                  <a:schemeClr val="bg1"/>
                </a:solidFill>
              </a:rPr>
              <a:t> </a:t>
            </a:r>
            <a:r>
              <a:rPr lang="pl-PL" sz="800" dirty="0" err="1" smtClean="0">
                <a:solidFill>
                  <a:schemeClr val="bg1"/>
                </a:solidFill>
              </a:rPr>
              <a:t>AMERICA</a:t>
            </a:r>
            <a:endParaRPr lang="pl-PL" sz="8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6814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957158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05" name="think-cell Slide" r:id="rId13" imgW="524" imgH="526" progId="TCLayout.ActiveDocument.1">
                  <p:embed/>
                </p:oleObj>
              </mc:Choice>
              <mc:Fallback>
                <p:oleObj name="think-cell Slide" r:id="rId13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Two phased approach to maximize launch succes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58759" y="1853034"/>
            <a:ext cx="11491892" cy="3401011"/>
            <a:chOff x="158759" y="1180877"/>
            <a:chExt cx="11491892" cy="3401011"/>
          </a:xfrm>
        </p:grpSpPr>
        <p:sp>
          <p:nvSpPr>
            <p:cNvPr id="9" name="Rectangle 286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055583" y="1774966"/>
              <a:ext cx="5494990" cy="18712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>
                <a:spcBef>
                  <a:spcPct val="80000"/>
                </a:spcBef>
              </a:pPr>
              <a:r>
                <a:rPr lang="en-US" dirty="0"/>
                <a:t>Mapped priority accounts geographically by potential</a:t>
              </a:r>
            </a:p>
            <a:p>
              <a:pPr lvl="1">
                <a:spcBef>
                  <a:spcPct val="80000"/>
                </a:spcBef>
              </a:pPr>
              <a:r>
                <a:rPr lang="en-US" dirty="0"/>
                <a:t>Built need based/segmentation driven deployment models based on coverage ratios and likely success rate in each priority account</a:t>
              </a:r>
            </a:p>
            <a:p>
              <a:pPr lvl="1">
                <a:spcBef>
                  <a:spcPct val="80000"/>
                </a:spcBef>
              </a:pPr>
              <a:r>
                <a:rPr lang="en-US" dirty="0"/>
                <a:t>Helped build dynamic account segmentation to help measure and drive sales rep deployment</a:t>
              </a:r>
            </a:p>
          </p:txBody>
        </p:sp>
        <p:sp>
          <p:nvSpPr>
            <p:cNvPr id="17" name="Rectangle 286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22259" y="1774966"/>
              <a:ext cx="5582368" cy="28069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>
                <a:spcBef>
                  <a:spcPct val="80000"/>
                </a:spcBef>
              </a:pPr>
              <a:r>
                <a:rPr lang="en-US" dirty="0"/>
                <a:t>Used patient level analytics to identify </a:t>
              </a:r>
              <a:r>
                <a:rPr lang="en-US" dirty="0" smtClean="0"/>
                <a:t>pockets</a:t>
              </a:r>
              <a:br>
                <a:rPr lang="en-US" dirty="0" smtClean="0"/>
              </a:br>
              <a:r>
                <a:rPr lang="en-US" dirty="0" smtClean="0"/>
                <a:t>of </a:t>
              </a:r>
              <a:r>
                <a:rPr lang="en-US" dirty="0"/>
                <a:t>opportunity</a:t>
              </a:r>
            </a:p>
            <a:p>
              <a:pPr lvl="1">
                <a:spcBef>
                  <a:spcPct val="80000"/>
                </a:spcBef>
              </a:pPr>
              <a:r>
                <a:rPr lang="en-US" dirty="0"/>
                <a:t>Leveraged McKinsey tools (Hospital IQ) and analytics tools (Field Guide) to segment and prioritize</a:t>
              </a:r>
            </a:p>
            <a:p>
              <a:pPr lvl="1">
                <a:spcBef>
                  <a:spcPct val="80000"/>
                </a:spcBef>
              </a:pPr>
              <a:r>
                <a:rPr lang="en-US" dirty="0"/>
                <a:t>Considered account potential, behavioral segmentation, as well as likely success factors at the account level to develop a segmentation</a:t>
              </a:r>
            </a:p>
            <a:p>
              <a:pPr lvl="1">
                <a:spcBef>
                  <a:spcPct val="80000"/>
                </a:spcBef>
              </a:pPr>
              <a:r>
                <a:rPr lang="en-US" dirty="0"/>
                <a:t>Leveraged analytics to build a set of priority accounts to capture share in (vs. incumbents)</a:t>
              </a:r>
            </a:p>
          </p:txBody>
        </p:sp>
        <p:grpSp>
          <p:nvGrpSpPr>
            <p:cNvPr id="5" name="Group 4"/>
            <p:cNvGrpSpPr/>
            <p:nvPr>
              <p:custDataLst>
                <p:tags r:id="rId6"/>
              </p:custDataLst>
            </p:nvPr>
          </p:nvGrpSpPr>
          <p:grpSpPr>
            <a:xfrm>
              <a:off x="158759" y="1180877"/>
              <a:ext cx="5745946" cy="555989"/>
              <a:chOff x="158759" y="1180877"/>
              <a:chExt cx="5745946" cy="555989"/>
            </a:xfrm>
            <a:solidFill>
              <a:schemeClr val="accent4"/>
            </a:solidFill>
          </p:grpSpPr>
          <p:sp>
            <p:nvSpPr>
              <p:cNvPr id="3" name="Freeform 2"/>
              <p:cNvSpPr/>
              <p:nvPr>
                <p:custDataLst>
                  <p:tags r:id="rId10"/>
                </p:custDataLst>
              </p:nvPr>
            </p:nvSpPr>
            <p:spPr>
              <a:xfrm>
                <a:off x="158759" y="1180877"/>
                <a:ext cx="5745946" cy="555989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77607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77607 w 1828800"/>
                  <a:gd name="connsiteY1" fmla="*/ 0 h 914400"/>
                  <a:gd name="connsiteX2" fmla="*/ 1828800 w 1828800"/>
                  <a:gd name="connsiteY2" fmla="*/ 457200 h 914400"/>
                  <a:gd name="connsiteX3" fmla="*/ 177760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77607 w 1828800"/>
                  <a:gd name="connsiteY1" fmla="*/ 0 h 914400"/>
                  <a:gd name="connsiteX2" fmla="*/ 1828800 w 1828800"/>
                  <a:gd name="connsiteY2" fmla="*/ 457200 h 914400"/>
                  <a:gd name="connsiteX3" fmla="*/ 177760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96948 w 1828800"/>
                  <a:gd name="connsiteY1" fmla="*/ 0 h 914400"/>
                  <a:gd name="connsiteX2" fmla="*/ 1828800 w 1828800"/>
                  <a:gd name="connsiteY2" fmla="*/ 457200 h 914400"/>
                  <a:gd name="connsiteX3" fmla="*/ 177760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96948 w 1828800"/>
                  <a:gd name="connsiteY1" fmla="*/ 0 h 914400"/>
                  <a:gd name="connsiteX2" fmla="*/ 1828800 w 1828800"/>
                  <a:gd name="connsiteY2" fmla="*/ 457200 h 914400"/>
                  <a:gd name="connsiteX3" fmla="*/ 179694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796948" y="0"/>
                    </a:lnTo>
                    <a:lnTo>
                      <a:pt x="1828800" y="457200"/>
                    </a:lnTo>
                    <a:lnTo>
                      <a:pt x="1796948" y="914400"/>
                    </a:lnTo>
                    <a:lnTo>
                      <a:pt x="0" y="914400"/>
                    </a:lnTo>
                    <a:lnTo>
                      <a:pt x="0" y="457201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TextBox 17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222259" y="1219487"/>
                <a:ext cx="5582368" cy="478768"/>
              </a:xfrm>
              <a:prstGeom prst="rect">
                <a:avLst/>
              </a:prstGeom>
              <a:grpFill/>
            </p:spPr>
            <p:txBody>
              <a:bodyPr vert="horz" lIns="0" tIns="0" rIns="0" bIns="0" rtlCol="0" anchor="ctr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600" b="1" dirty="0">
                    <a:solidFill>
                      <a:schemeClr val="bg1"/>
                    </a:solidFill>
                  </a:rPr>
                  <a:t>Account segmentation/prioritization</a:t>
                </a:r>
              </a:p>
            </p:txBody>
          </p:sp>
        </p:grpSp>
        <p:grpSp>
          <p:nvGrpSpPr>
            <p:cNvPr id="6" name="Group 5"/>
            <p:cNvGrpSpPr/>
            <p:nvPr>
              <p:custDataLst>
                <p:tags r:id="rId7"/>
              </p:custDataLst>
            </p:nvPr>
          </p:nvGrpSpPr>
          <p:grpSpPr>
            <a:xfrm>
              <a:off x="5904705" y="1180877"/>
              <a:ext cx="5745946" cy="555989"/>
              <a:chOff x="5904705" y="1180877"/>
              <a:chExt cx="5745946" cy="555989"/>
            </a:xfrm>
            <a:solidFill>
              <a:schemeClr val="accent4"/>
            </a:solidFill>
          </p:grpSpPr>
          <p:sp>
            <p:nvSpPr>
              <p:cNvPr id="20" name="Freeform 19"/>
              <p:cNvSpPr/>
              <p:nvPr>
                <p:custDataLst>
                  <p:tags r:id="rId8"/>
                </p:custDataLst>
              </p:nvPr>
            </p:nvSpPr>
            <p:spPr>
              <a:xfrm>
                <a:off x="5904705" y="1180877"/>
                <a:ext cx="5745946" cy="555989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28722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28722 w 1828800"/>
                  <a:gd name="connsiteY1" fmla="*/ 0 h 914400"/>
                  <a:gd name="connsiteX2" fmla="*/ 1828800 w 1828800"/>
                  <a:gd name="connsiteY2" fmla="*/ 457200 h 914400"/>
                  <a:gd name="connsiteX3" fmla="*/ 172872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28722 w 1828800"/>
                  <a:gd name="connsiteY1" fmla="*/ 0 h 914400"/>
                  <a:gd name="connsiteX2" fmla="*/ 1828800 w 1828800"/>
                  <a:gd name="connsiteY2" fmla="*/ 457200 h 914400"/>
                  <a:gd name="connsiteX3" fmla="*/ 1728722 w 1828800"/>
                  <a:gd name="connsiteY3" fmla="*/ 914400 h 914400"/>
                  <a:gd name="connsiteX4" fmla="*/ 0 w 1828800"/>
                  <a:gd name="connsiteY4" fmla="*/ 914400 h 914400"/>
                  <a:gd name="connsiteX5" fmla="*/ 100078 w 1828800"/>
                  <a:gd name="connsiteY5" fmla="*/ 457201 h 914400"/>
                  <a:gd name="connsiteX0" fmla="*/ 0 w 1828800"/>
                  <a:gd name="connsiteY0" fmla="*/ 0 h 914400"/>
                  <a:gd name="connsiteX1" fmla="*/ 1728722 w 1828800"/>
                  <a:gd name="connsiteY1" fmla="*/ 0 h 914400"/>
                  <a:gd name="connsiteX2" fmla="*/ 1828800 w 1828800"/>
                  <a:gd name="connsiteY2" fmla="*/ 457200 h 914400"/>
                  <a:gd name="connsiteX3" fmla="*/ 1728722 w 1828800"/>
                  <a:gd name="connsiteY3" fmla="*/ 914400 h 914400"/>
                  <a:gd name="connsiteX4" fmla="*/ 0 w 1828800"/>
                  <a:gd name="connsiteY4" fmla="*/ 914400 h 914400"/>
                  <a:gd name="connsiteX5" fmla="*/ 100078 w 1828800"/>
                  <a:gd name="connsiteY5" fmla="*/ 457201 h 914400"/>
                  <a:gd name="connsiteX0" fmla="*/ 0 w 1828800"/>
                  <a:gd name="connsiteY0" fmla="*/ 0 h 914400"/>
                  <a:gd name="connsiteX1" fmla="*/ 1728722 w 1828800"/>
                  <a:gd name="connsiteY1" fmla="*/ 0 h 914400"/>
                  <a:gd name="connsiteX2" fmla="*/ 1828800 w 1828800"/>
                  <a:gd name="connsiteY2" fmla="*/ 457200 h 914400"/>
                  <a:gd name="connsiteX3" fmla="*/ 1728722 w 1828800"/>
                  <a:gd name="connsiteY3" fmla="*/ 914400 h 914400"/>
                  <a:gd name="connsiteX4" fmla="*/ 0 w 1828800"/>
                  <a:gd name="connsiteY4" fmla="*/ 914400 h 914400"/>
                  <a:gd name="connsiteX5" fmla="*/ 100078 w 1828800"/>
                  <a:gd name="connsiteY5" fmla="*/ 457201 h 914400"/>
                  <a:gd name="connsiteX0" fmla="*/ 0 w 1828800"/>
                  <a:gd name="connsiteY0" fmla="*/ 0 h 914400"/>
                  <a:gd name="connsiteX1" fmla="*/ 1728722 w 1828800"/>
                  <a:gd name="connsiteY1" fmla="*/ 0 h 914400"/>
                  <a:gd name="connsiteX2" fmla="*/ 1828800 w 1828800"/>
                  <a:gd name="connsiteY2" fmla="*/ 457200 h 914400"/>
                  <a:gd name="connsiteX3" fmla="*/ 1728722 w 1828800"/>
                  <a:gd name="connsiteY3" fmla="*/ 914400 h 914400"/>
                  <a:gd name="connsiteX4" fmla="*/ 0 w 1828800"/>
                  <a:gd name="connsiteY4" fmla="*/ 914400 h 914400"/>
                  <a:gd name="connsiteX5" fmla="*/ 51193 w 1828800"/>
                  <a:gd name="connsiteY5" fmla="*/ 457201 h 914400"/>
                  <a:gd name="connsiteX0" fmla="*/ 0 w 1828800"/>
                  <a:gd name="connsiteY0" fmla="*/ 0 h 914400"/>
                  <a:gd name="connsiteX1" fmla="*/ 1777607 w 1828800"/>
                  <a:gd name="connsiteY1" fmla="*/ 0 h 914400"/>
                  <a:gd name="connsiteX2" fmla="*/ 1828800 w 1828800"/>
                  <a:gd name="connsiteY2" fmla="*/ 457200 h 914400"/>
                  <a:gd name="connsiteX3" fmla="*/ 1728722 w 1828800"/>
                  <a:gd name="connsiteY3" fmla="*/ 914400 h 914400"/>
                  <a:gd name="connsiteX4" fmla="*/ 0 w 1828800"/>
                  <a:gd name="connsiteY4" fmla="*/ 914400 h 914400"/>
                  <a:gd name="connsiteX5" fmla="*/ 51193 w 1828800"/>
                  <a:gd name="connsiteY5" fmla="*/ 457201 h 914400"/>
                  <a:gd name="connsiteX0" fmla="*/ 0 w 1828800"/>
                  <a:gd name="connsiteY0" fmla="*/ 0 h 914400"/>
                  <a:gd name="connsiteX1" fmla="*/ 1777607 w 1828800"/>
                  <a:gd name="connsiteY1" fmla="*/ 0 h 914400"/>
                  <a:gd name="connsiteX2" fmla="*/ 1828800 w 1828800"/>
                  <a:gd name="connsiteY2" fmla="*/ 457200 h 914400"/>
                  <a:gd name="connsiteX3" fmla="*/ 1777607 w 1828800"/>
                  <a:gd name="connsiteY3" fmla="*/ 914400 h 914400"/>
                  <a:gd name="connsiteX4" fmla="*/ 0 w 1828800"/>
                  <a:gd name="connsiteY4" fmla="*/ 914400 h 914400"/>
                  <a:gd name="connsiteX5" fmla="*/ 51193 w 1828800"/>
                  <a:gd name="connsiteY5" fmla="*/ 457201 h 914400"/>
                  <a:gd name="connsiteX0" fmla="*/ 0 w 1828800"/>
                  <a:gd name="connsiteY0" fmla="*/ 0 h 914400"/>
                  <a:gd name="connsiteX1" fmla="*/ 1777607 w 1828800"/>
                  <a:gd name="connsiteY1" fmla="*/ 0 h 914400"/>
                  <a:gd name="connsiteX2" fmla="*/ 1828800 w 1828800"/>
                  <a:gd name="connsiteY2" fmla="*/ 457200 h 914400"/>
                  <a:gd name="connsiteX3" fmla="*/ 177760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77607 w 1828800"/>
                  <a:gd name="connsiteY1" fmla="*/ 0 h 914400"/>
                  <a:gd name="connsiteX2" fmla="*/ 1828800 w 1828800"/>
                  <a:gd name="connsiteY2" fmla="*/ 457200 h 914400"/>
                  <a:gd name="connsiteX3" fmla="*/ 177760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77607 w 1828800"/>
                  <a:gd name="connsiteY1" fmla="*/ 0 h 914400"/>
                  <a:gd name="connsiteX2" fmla="*/ 1828800 w 1828800"/>
                  <a:gd name="connsiteY2" fmla="*/ 457200 h 914400"/>
                  <a:gd name="connsiteX3" fmla="*/ 1777607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77607 w 1828800"/>
                  <a:gd name="connsiteY1" fmla="*/ 0 h 914400"/>
                  <a:gd name="connsiteX2" fmla="*/ 1828800 w 1828800"/>
                  <a:gd name="connsiteY2" fmla="*/ 457200 h 914400"/>
                  <a:gd name="connsiteX3" fmla="*/ 1777607 w 1828800"/>
                  <a:gd name="connsiteY3" fmla="*/ 914400 h 914400"/>
                  <a:gd name="connsiteX4" fmla="*/ 0 w 1828800"/>
                  <a:gd name="connsiteY4" fmla="*/ 914400 h 914400"/>
                  <a:gd name="connsiteX5" fmla="*/ 51193 w 1828800"/>
                  <a:gd name="connsiteY5" fmla="*/ 457201 h 914400"/>
                  <a:gd name="connsiteX0" fmla="*/ 0 w 1828800"/>
                  <a:gd name="connsiteY0" fmla="*/ 0 h 914400"/>
                  <a:gd name="connsiteX1" fmla="*/ 1777607 w 1828800"/>
                  <a:gd name="connsiteY1" fmla="*/ 0 h 914400"/>
                  <a:gd name="connsiteX2" fmla="*/ 1828800 w 1828800"/>
                  <a:gd name="connsiteY2" fmla="*/ 457200 h 914400"/>
                  <a:gd name="connsiteX3" fmla="*/ 1777607 w 1828800"/>
                  <a:gd name="connsiteY3" fmla="*/ 914400 h 914400"/>
                  <a:gd name="connsiteX4" fmla="*/ 0 w 1828800"/>
                  <a:gd name="connsiteY4" fmla="*/ 914400 h 914400"/>
                  <a:gd name="connsiteX5" fmla="*/ 51193 w 1828800"/>
                  <a:gd name="connsiteY5" fmla="*/ 457201 h 914400"/>
                  <a:gd name="connsiteX0" fmla="*/ 0 w 1828800"/>
                  <a:gd name="connsiteY0" fmla="*/ 0 h 914400"/>
                  <a:gd name="connsiteX1" fmla="*/ 1777607 w 1828800"/>
                  <a:gd name="connsiteY1" fmla="*/ 0 h 914400"/>
                  <a:gd name="connsiteX2" fmla="*/ 1828800 w 1828800"/>
                  <a:gd name="connsiteY2" fmla="*/ 457200 h 914400"/>
                  <a:gd name="connsiteX3" fmla="*/ 1777607 w 1828800"/>
                  <a:gd name="connsiteY3" fmla="*/ 914400 h 914400"/>
                  <a:gd name="connsiteX4" fmla="*/ 0 w 1828800"/>
                  <a:gd name="connsiteY4" fmla="*/ 914400 h 914400"/>
                  <a:gd name="connsiteX5" fmla="*/ 51193 w 1828800"/>
                  <a:gd name="connsiteY5" fmla="*/ 457201 h 914400"/>
                  <a:gd name="connsiteX0" fmla="*/ 0 w 1828800"/>
                  <a:gd name="connsiteY0" fmla="*/ 0 h 914400"/>
                  <a:gd name="connsiteX1" fmla="*/ 1777607 w 1828800"/>
                  <a:gd name="connsiteY1" fmla="*/ 0 h 914400"/>
                  <a:gd name="connsiteX2" fmla="*/ 1828800 w 1828800"/>
                  <a:gd name="connsiteY2" fmla="*/ 457200 h 914400"/>
                  <a:gd name="connsiteX3" fmla="*/ 1777607 w 1828800"/>
                  <a:gd name="connsiteY3" fmla="*/ 914400 h 914400"/>
                  <a:gd name="connsiteX4" fmla="*/ 0 w 1828800"/>
                  <a:gd name="connsiteY4" fmla="*/ 914400 h 914400"/>
                  <a:gd name="connsiteX5" fmla="*/ 31852 w 1828800"/>
                  <a:gd name="connsiteY5" fmla="*/ 457201 h 914400"/>
                  <a:gd name="connsiteX0" fmla="*/ 0 w 1828800"/>
                  <a:gd name="connsiteY0" fmla="*/ 0 h 914400"/>
                  <a:gd name="connsiteX1" fmla="*/ 1796948 w 1828800"/>
                  <a:gd name="connsiteY1" fmla="*/ 0 h 914400"/>
                  <a:gd name="connsiteX2" fmla="*/ 1828800 w 1828800"/>
                  <a:gd name="connsiteY2" fmla="*/ 457200 h 914400"/>
                  <a:gd name="connsiteX3" fmla="*/ 1777607 w 1828800"/>
                  <a:gd name="connsiteY3" fmla="*/ 914400 h 914400"/>
                  <a:gd name="connsiteX4" fmla="*/ 0 w 1828800"/>
                  <a:gd name="connsiteY4" fmla="*/ 914400 h 914400"/>
                  <a:gd name="connsiteX5" fmla="*/ 31852 w 1828800"/>
                  <a:gd name="connsiteY5" fmla="*/ 457201 h 914400"/>
                  <a:gd name="connsiteX0" fmla="*/ 0 w 1828800"/>
                  <a:gd name="connsiteY0" fmla="*/ 0 h 914400"/>
                  <a:gd name="connsiteX1" fmla="*/ 1796948 w 1828800"/>
                  <a:gd name="connsiteY1" fmla="*/ 0 h 914400"/>
                  <a:gd name="connsiteX2" fmla="*/ 1828800 w 1828800"/>
                  <a:gd name="connsiteY2" fmla="*/ 457200 h 914400"/>
                  <a:gd name="connsiteX3" fmla="*/ 1796948 w 1828800"/>
                  <a:gd name="connsiteY3" fmla="*/ 914400 h 914400"/>
                  <a:gd name="connsiteX4" fmla="*/ 0 w 1828800"/>
                  <a:gd name="connsiteY4" fmla="*/ 914400 h 914400"/>
                  <a:gd name="connsiteX5" fmla="*/ 31852 w 1828800"/>
                  <a:gd name="connsiteY5" fmla="*/ 457201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796948" y="0"/>
                    </a:lnTo>
                    <a:lnTo>
                      <a:pt x="1828800" y="457200"/>
                    </a:lnTo>
                    <a:lnTo>
                      <a:pt x="1796948" y="914400"/>
                    </a:lnTo>
                    <a:lnTo>
                      <a:pt x="0" y="914400"/>
                    </a:lnTo>
                    <a:lnTo>
                      <a:pt x="31852" y="457201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TextBox 22"/>
              <p:cNvSpPr txBox="1"/>
              <p:nvPr>
                <p:custDataLst>
                  <p:tags r:id="rId9"/>
                </p:custDataLst>
              </p:nvPr>
            </p:nvSpPr>
            <p:spPr>
              <a:xfrm>
                <a:off x="6055583" y="1219487"/>
                <a:ext cx="5494990" cy="478768"/>
              </a:xfrm>
              <a:prstGeom prst="rect">
                <a:avLst/>
              </a:prstGeom>
              <a:grpFill/>
            </p:spPr>
            <p:txBody>
              <a:bodyPr vert="horz" lIns="0" tIns="0" rIns="0" bIns="0" rtlCol="0" anchor="ctr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600" b="1" dirty="0">
                    <a:solidFill>
                      <a:schemeClr val="bg1"/>
                    </a:solidFill>
                  </a:rPr>
                  <a:t>Account level strategy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68772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3082625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3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AutoShape 6" descr="data:image/jpeg;base64,/9j/4AAQSkZJRgABAQAAAQABAAD/2wCEAAkGBxQPDw8QDg8NDw0PDhANDw8PEBAQDxAPFBQWFhQRFRQYHCggGBolGxUUITEjJSkrLi4uFx8zODMsNygtLisBCgoKDg0OFA8QFCwcFBwrKywsLCwrLCwsLCwxLCw3KywsLCssLCwsLCwrKzgrLCwsKywsLCw3KzcrNyssKysrLP/AABEIAMIBAwMBIgACEQEDEQH/xAAcAAEAAQUBAQAAAAAAAAAAAAAABQECAwQGBwj/xABDEAACAQMBBQUFBQQGCwAAAAAAAQIDBBEFEhMhMUEGUWFxgQciUpGhFCMyQmKCorHBJDNTc5LRFTRDcoOEo7Ph8PH/xAAXAQEBAQEAAAAAAAAAAAAAAAAAAQID/8QAHBEBAQEBAAMBAQAAAAAAAAAAAAERAhIhMUFR/9oADAMBAAIRAxEAPwD3EAAAAAAAAAAAAAAAAAAAAAAAAAAAAAAAAAAAAAAAAAAAAAAAAAAAAABhuruFGLnWqQpwXOU5KMV6s5267b0Vwt6Vzdv4qUFTpee8quKa8sgdQDip9rbqT9yztYR76t1OUv8ADGlj6l0e0l31pWL8NutH64f8Bqa7MHL0e1FRf1tpnv3FeFT6VFAkrTtFQqNR3jpVG8KFeMqMm+6O1hS9GwqWBRMqAAAAAAAAAAAAAAAAAAAAAAAAAAAAAAACjYBs5LWO1/vTpWKjVnFuM68uNCnLql8cl3LgRfaDXZX8529rOULGEnCtXg8SuJLhKlTfSC5OS58kUstMxGMKcMRisRjFYSREtR8rbez3txOpcVuk6ryo+EIcoryNxQJinpDSzNxgv1Pj8kJ2kV+Ft+LWF8iYiIcGW4ZL7gtduTBFxqNGTe7ScZJSi+DjJJprxTNmpbGtUoYIuM9jc1KH+r1MQX+wqtyovwi+dP04eB1Gk61C4zFp0q8VmVGeNpL4otcJR8V64OMzgvyp7OXKMoPap1IvE6cvii+n8H14GpUeiAgdA1t1Jbi42VcKO1GSWIV6a/PHua4Zj0znk0TxpoAAAAAAAAAAAAAAAAAAAAAAABQqABRs4ntzrEpzhp1tJxq1ob26qReJUbXOMJrlKbzFeCkzq9QvI0qc6k2lCnCU5PujFZb+h5/2YoyrKreVl9/e1N+884UuVGn+zDZ9WyFTOkWtOlTjFU17qUYx5RjFckkSiuZYxHEV3RWDFSo4NiFIMxgdPPMruza2A4EVq7stdI29gt2ANOVMwVKBISpmKcAIevb4NGa2WTtWkR91RJYNZrbSxJwqQkqlKovxU6i5SX1TXVNrqdj2e1T7VR2pJQrU5OlXp/BVXPH6WmmvBo4mLwzf068+zXVKrnFK4cbWv3KTf3NTz2ns/truLzSO7ABpQAAAAAAAAAAAAAAAAAAAABbksqTL2alxMixyXtEuc20bdP3ry4pWr/u29qr+5GXzJOxt9mMUlhJJEB2knvNQ06m+UftFf1ShBf8AcfzOtowDN+qwgZoxCiZEiCzZGyZdkpgDA4lMGdxLGgMDRjlE2XEslEDTnA0bmmSs4mpXiBBVqRhurfe0atLLTnCSjJc4z/LJeKeGSNzE1Kc8ywlxIldj2c1H7VZ21drEqtGEpx+GpjE4+kk16Ekcv7PZ/wBGrU/7G9uYLwU5Ksl/1TqDbQAAAAAAAAAAAAAAAAAAAAAskR95LgSEyNveRmrHHahDOp2U3/ZXEPXaov8Akzs4I4rXHs1rOp0jc7t+VSE4r97YO2pPKTXVJifE6+siReikUXFZCuCuCuCC1xLHEy4KMDDJFjiZ5IskgrWnE1qsTdkjWqxAh72JDzm4yTXNMnb2Jzmp11TjKcniMeLIldF7OeMdQl0lqMselvQT+qZ15xvsrrwq2E6lOcZ727r1JOKkkpNr3OK4tLCfThwOyNtAAAAAAAAAAAAAAAAKFQAAAAsmR17yJCZpXS4Gaschrtq6tGpGK+8wqlP+9g1KH70UT/Z28Ve2pzjy2Ytd+zJZWTRuY4ZoaFX+y3MqT4UarlWp92JPNWHmpPa8p/pZOf4dz9dlBmVRMLWPLmjPTkaYMFcF+BgKswUZe0WMCxlrRkLGRGKSNasbUkYKlJvoFRF71PK/a5qG6toUYv369RcFz2Ie8/rso9O1WsoRlKbSjFNtvokeBa5d1dW1CU7ZKSoY3Sf4dmMvd4cvekCPc/ZTOna6bb2r92rTWaucca1T7ySS5vG2o58Du4yzxXJnhlt7RasZbvWLbFSE3QpVYx2IKeZKpPg+OJbGcPlDlxPWdKvI1KUalpWhdUcLjFx2/Xo34PZfmVpNg0oalDlL3ZLmnwa80+KLa+s0Kc4QnXpRnP8ADFySz/7kqN4ZCeeRUAChUAAAAAAAAAAAAAAskataJtsw1IkVBXlIib613kUs7M4yU6c+bhNcn4rGU11Ta6nSXNLJFVqWDFajP2e1XeR3VVbFSDUZRznZk+WH1g+LT9OaaU3stHIXFvlqcHsVYJqM8ZWHzhJfmi+71WGkyX0jW8/dVls1Es7LeeHxQl+eP1XVLruXWLziehPJkMMEnxi014FyeCpq9mNl22Y5yAo0U9A5FkpGUJ1WuWEaFzVb6tmevLCbk0o97OS1ztA8uhaR3txJclwjFfFOX5Y/V9ArnPaVqE9mnbUYTm6re0452drKUYSa5Li35QZHdlNBVkoyypXG06k5tZi5td3cuh02maG4bU6knUuKuHVqPhnuhFdIrovU2p6b3HPrfx259RgoW1GrGEbujGooxnlyipxc5/iljpwWEQ1fsLUtpu50K8nbz4vczm5UpeClxa8nlE46TiWb9xzstxb54eM+f+ZJ1YtmuZuPaDXp1dzrFq1UVGEVVp4UFmTe+XHD5QfB8qcu8g6Wo0dUu7ycbqpRlKrGNqptP7mEcLMXzzw+RIe0nWf6PO3UFvbqUN5LGYQt6f4Yxb6t/L3u88inRcHmLeVxTXBo7c3XPr16e1WHaHUNKwp/0i1X5o5qU8f7v4oeh6B2b9odreJKU1RqPpJp02/CfT1wfO+h9uLi2xGb3tPqpczqra6sdQ96nN2l21+KGI5fjHky4y+joyTWU00+Ka4plTwjTta1HSuT+02q6wzOGPGHOPoegdmvaTa3aSqNUKnJ7TzTb8+nqB24LadRSScWpRfFNPKa8y4ABgoBUFMlQAAAAACjLZIvKMDVqwNG4t8krKJhnTM4srnq1HBq16CksSWVnK6NNcpJrin4o6CtQyaFa2MWNa0Le7rUfwvfR8Wo1l6/hn67L75MkLftMlhVUoyyo+/9zLP/ABHsS/ZnI050mjHKPyZZ1UvLplqFNrL2ku9xlj5mOWpUOe9h9Tk3p9Pi1TjBvnKC3cn+1HDME9Ipy579/wDMXGPltl84nhXW3Gs0YLLk8d+Hj5kDc9tqbzG1hK4nlpKgt9x7nKPuR/akjRpdn6CkpfZ6Ln8U4qpL/FLLJajb8klhLkkuCHkeCEqU7q7ea8/s9PP9XTanWa7nL8MPTa80SunaVClHZpwUVnL6uT+KTfFvxZJ0bY3qVuFyRo07TwLp2vgSkaRc6Qw1ztxZeBDXtljijtalvk0bqxyS8rrzPV9Jp11irDLXBSXCS9TidY7FzWXQamvhfCa/kz2S+0rnhEJcWLj0M+416rwm802UG1KLTXNNYZHToOLys+nBnuWoabCssVYKXc/zLyfNHI6r2N5yoPaXwS4S9HyZqdsXlzOh9s7i1aTk6tP4Z88eZ1ttqljqPGWbS6f54+5l+XJnEX+lSpycZwcZLo1gi6lu48jpKy9istR1HSveozd3ac26XvrH6qT/AIxO87Me1C2uko1mqFTk3xdPPj1j6/M+edF7WXNo0o1HKC/JPiseZ1lDXLLUMb+H2a56VYe68+LXP1GD6Uo1ozipQlGcHxUotSi15oyHz9YXV/pr3lpWdzb82oYbx+qm+D9Du+zPtVoV8U7tbiryckns58YvjH6gei4GDFbXUKsVOlONSD4qUGpJ+qMwFBkqUaAqCgAqAAKYLXEvAGGVMwTom40U2SYIypamvKyJlwLXTJ4tahPsRVWRM7oruh4moqFmbNO1wbqgXbIw1ghRM0YFyRXBcZEhgqCi1osnTMpRoDQrWyZG3Onp9CfcTFOkZxdcZeaR4EJc6fKPQ9Fq2+SOubBPoZvLU6ebX1hGotmrBSXiuK8n0OU1Xscnl0JfsS/lL/M9bvNIz0IS601x5Ix7jXqvDtR0idNuM4Si/FY/+kVUt2j3C7slNbNSClHukjldV7IRll0Hsv4JcvRm52zeXF6R2jr2rWxUk4r8snlHWUO0FpfpRu6e5r9KsPdlnv4czl9S0adJ4qQlHu4cH5PqRNS3aOkrD1TTp3tg97YXDuKHPEGtrH6ocpHd9mfa1SqtU72Do1eTnFPZz+qHNemT590zXK1rJOnOWF0bOqodora9SheUlGpyVWHuzT81zKPp2zvadeCnRqQqQfKUGmv/AAbB846dK6snvtOunWpLi4qWKiXiuUke79k9Sld2NtcVElOtSVRpcFx5PHisP1IJcAAAAAAAAAACmCoApgYKgAAAAAAAAAAABRoqAMcomKdI2S1ogjqtA0LixT6E64GKdImLrkLzSE+hBXelOPJHolS3NGvZJ9DN5aleZXdnlOM4KUXzTWUcxqfZOE8uk9iXPZeXH5819T1680hPoQV3orXJGcs+Neq8P1PQ6lFvbg8dHzT9SHqWzR7rX018VKOU+aaymaC9nUbtvY+5fThmOfI1OmLy8z7HW9xdXdGzt5zi68922s+5T/PPyUcs+urG1jRpU6VNYp0oRpwXdGKSX8DjfZ17PaelbdaTVW7qR3e3jCp0852Y572ll+CO5OjIAAAAAAAAAAAAAAAAAAAAAAFGQCgAULi0qEVBQqUC1ouAGNwMUqRslMEGjO3ME7FPoSmCmyMXUR/omL6I27WyUOSN3AYw1WICBUAVAAAAAAAAAAAAAAAAAAAEAoABQAEUABRUABFQAUAAAKAAAABRFUABUAAf/9k="/>
          <p:cNvSpPr>
            <a:spLocks noChangeAspect="1" noChangeArrowheads="1"/>
          </p:cNvSpPr>
          <p:nvPr/>
        </p:nvSpPr>
        <p:spPr bwMode="auto">
          <a:xfrm>
            <a:off x="1649412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053972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Utilized account criteria and performance drivers to segment and prioritize accounts</a:t>
            </a:r>
          </a:p>
        </p:txBody>
      </p:sp>
      <p:grpSp>
        <p:nvGrpSpPr>
          <p:cNvPr id="9" name="Group 8"/>
          <p:cNvGrpSpPr>
            <a:grpSpLocks/>
          </p:cNvGrpSpPr>
          <p:nvPr/>
        </p:nvGrpSpPr>
        <p:grpSpPr>
          <a:xfrm>
            <a:off x="158759" y="1046193"/>
            <a:ext cx="11491891" cy="5343876"/>
            <a:chOff x="158759" y="991012"/>
            <a:chExt cx="11491891" cy="5343876"/>
          </a:xfrm>
        </p:grpSpPr>
        <p:sp>
          <p:nvSpPr>
            <p:cNvPr id="22" name="Rectangle 21"/>
            <p:cNvSpPr>
              <a:spLocks/>
            </p:cNvSpPr>
            <p:nvPr/>
          </p:nvSpPr>
          <p:spPr>
            <a:xfrm>
              <a:off x="158759" y="991012"/>
              <a:ext cx="11491891" cy="534387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3285" tIns="46643" rIns="93285" bIns="46643" rtlCol="0" anchor="ctr">
              <a:noAutofit/>
            </a:bodyPr>
            <a:lstStyle/>
            <a:p>
              <a:pPr algn="ctr" defTabSz="448056" fontAlgn="auto">
                <a:spcBef>
                  <a:spcPts val="0"/>
                </a:spcBef>
                <a:spcAft>
                  <a:spcPts val="0"/>
                </a:spcAft>
              </a:pPr>
              <a:endParaRPr lang="en-US" sz="1500" dirty="0">
                <a:solidFill>
                  <a:srgbClr val="FFFFFF"/>
                </a:solidFill>
              </a:endParaRPr>
            </a:p>
          </p:txBody>
        </p:sp>
        <p:sp>
          <p:nvSpPr>
            <p:cNvPr id="23" name="Parallelogram 3"/>
            <p:cNvSpPr/>
            <p:nvPr/>
          </p:nvSpPr>
          <p:spPr>
            <a:xfrm>
              <a:off x="4820946" y="1688342"/>
              <a:ext cx="1981812" cy="902332"/>
            </a:xfrm>
            <a:custGeom>
              <a:avLst/>
              <a:gdLst>
                <a:gd name="connsiteX0" fmla="*/ 0 w 1745455"/>
                <a:gd name="connsiteY0" fmla="*/ 823913 h 823913"/>
                <a:gd name="connsiteX1" fmla="*/ 938874 w 1745455"/>
                <a:gd name="connsiteY1" fmla="*/ 0 h 823913"/>
                <a:gd name="connsiteX2" fmla="*/ 1745455 w 1745455"/>
                <a:gd name="connsiteY2" fmla="*/ 0 h 823913"/>
                <a:gd name="connsiteX3" fmla="*/ 806581 w 1745455"/>
                <a:gd name="connsiteY3" fmla="*/ 823913 h 823913"/>
                <a:gd name="connsiteX4" fmla="*/ 0 w 1745455"/>
                <a:gd name="connsiteY4" fmla="*/ 823913 h 823913"/>
                <a:gd name="connsiteX0" fmla="*/ 0 w 1635918"/>
                <a:gd name="connsiteY0" fmla="*/ 616744 h 823913"/>
                <a:gd name="connsiteX1" fmla="*/ 829337 w 1635918"/>
                <a:gd name="connsiteY1" fmla="*/ 0 h 823913"/>
                <a:gd name="connsiteX2" fmla="*/ 1635918 w 1635918"/>
                <a:gd name="connsiteY2" fmla="*/ 0 h 823913"/>
                <a:gd name="connsiteX3" fmla="*/ 697044 w 1635918"/>
                <a:gd name="connsiteY3" fmla="*/ 823913 h 823913"/>
                <a:gd name="connsiteX4" fmla="*/ 0 w 1635918"/>
                <a:gd name="connsiteY4" fmla="*/ 616744 h 823913"/>
                <a:gd name="connsiteX0" fmla="*/ 0 w 1721643"/>
                <a:gd name="connsiteY0" fmla="*/ 616744 h 823913"/>
                <a:gd name="connsiteX1" fmla="*/ 829337 w 1721643"/>
                <a:gd name="connsiteY1" fmla="*/ 0 h 823913"/>
                <a:gd name="connsiteX2" fmla="*/ 1721643 w 1721643"/>
                <a:gd name="connsiteY2" fmla="*/ 76200 h 823913"/>
                <a:gd name="connsiteX3" fmla="*/ 697044 w 1721643"/>
                <a:gd name="connsiteY3" fmla="*/ 823913 h 823913"/>
                <a:gd name="connsiteX4" fmla="*/ 0 w 1721643"/>
                <a:gd name="connsiteY4" fmla="*/ 616744 h 823913"/>
                <a:gd name="connsiteX0" fmla="*/ 0 w 1714499"/>
                <a:gd name="connsiteY0" fmla="*/ 616744 h 823913"/>
                <a:gd name="connsiteX1" fmla="*/ 822193 w 1714499"/>
                <a:gd name="connsiteY1" fmla="*/ 0 h 823913"/>
                <a:gd name="connsiteX2" fmla="*/ 1714499 w 1714499"/>
                <a:gd name="connsiteY2" fmla="*/ 76200 h 823913"/>
                <a:gd name="connsiteX3" fmla="*/ 689900 w 1714499"/>
                <a:gd name="connsiteY3" fmla="*/ 823913 h 823913"/>
                <a:gd name="connsiteX4" fmla="*/ 0 w 1714499"/>
                <a:gd name="connsiteY4" fmla="*/ 616744 h 823913"/>
                <a:gd name="connsiteX0" fmla="*/ 38949 w 1753448"/>
                <a:gd name="connsiteY0" fmla="*/ 616744 h 823913"/>
                <a:gd name="connsiteX1" fmla="*/ 861142 w 1753448"/>
                <a:gd name="connsiteY1" fmla="*/ 0 h 823913"/>
                <a:gd name="connsiteX2" fmla="*/ 1753448 w 1753448"/>
                <a:gd name="connsiteY2" fmla="*/ 76200 h 823913"/>
                <a:gd name="connsiteX3" fmla="*/ 728849 w 1753448"/>
                <a:gd name="connsiteY3" fmla="*/ 823913 h 823913"/>
                <a:gd name="connsiteX4" fmla="*/ 38949 w 1753448"/>
                <a:gd name="connsiteY4" fmla="*/ 616744 h 823913"/>
                <a:gd name="connsiteX0" fmla="*/ 38844 w 1753343"/>
                <a:gd name="connsiteY0" fmla="*/ 616744 h 834289"/>
                <a:gd name="connsiteX1" fmla="*/ 861037 w 1753343"/>
                <a:gd name="connsiteY1" fmla="*/ 0 h 834289"/>
                <a:gd name="connsiteX2" fmla="*/ 1753343 w 1753343"/>
                <a:gd name="connsiteY2" fmla="*/ 76200 h 834289"/>
                <a:gd name="connsiteX3" fmla="*/ 728744 w 1753343"/>
                <a:gd name="connsiteY3" fmla="*/ 823913 h 834289"/>
                <a:gd name="connsiteX4" fmla="*/ 38844 w 1753343"/>
                <a:gd name="connsiteY4" fmla="*/ 616744 h 834289"/>
                <a:gd name="connsiteX0" fmla="*/ 38844 w 1510455"/>
                <a:gd name="connsiteY0" fmla="*/ 616744 h 834289"/>
                <a:gd name="connsiteX1" fmla="*/ 861037 w 1510455"/>
                <a:gd name="connsiteY1" fmla="*/ 0 h 834289"/>
                <a:gd name="connsiteX2" fmla="*/ 1510455 w 1510455"/>
                <a:gd name="connsiteY2" fmla="*/ 183356 h 834289"/>
                <a:gd name="connsiteX3" fmla="*/ 728744 w 1510455"/>
                <a:gd name="connsiteY3" fmla="*/ 823913 h 834289"/>
                <a:gd name="connsiteX4" fmla="*/ 38844 w 1510455"/>
                <a:gd name="connsiteY4" fmla="*/ 616744 h 834289"/>
                <a:gd name="connsiteX0" fmla="*/ 38844 w 1510455"/>
                <a:gd name="connsiteY0" fmla="*/ 616744 h 834289"/>
                <a:gd name="connsiteX1" fmla="*/ 861037 w 1510455"/>
                <a:gd name="connsiteY1" fmla="*/ 0 h 834289"/>
                <a:gd name="connsiteX2" fmla="*/ 1510455 w 1510455"/>
                <a:gd name="connsiteY2" fmla="*/ 183356 h 834289"/>
                <a:gd name="connsiteX3" fmla="*/ 728744 w 1510455"/>
                <a:gd name="connsiteY3" fmla="*/ 823913 h 834289"/>
                <a:gd name="connsiteX4" fmla="*/ 38844 w 1510455"/>
                <a:gd name="connsiteY4" fmla="*/ 616744 h 834289"/>
                <a:gd name="connsiteX0" fmla="*/ 38844 w 1514273"/>
                <a:gd name="connsiteY0" fmla="*/ 616744 h 834289"/>
                <a:gd name="connsiteX1" fmla="*/ 861037 w 1514273"/>
                <a:gd name="connsiteY1" fmla="*/ 0 h 834289"/>
                <a:gd name="connsiteX2" fmla="*/ 1510455 w 1514273"/>
                <a:gd name="connsiteY2" fmla="*/ 183356 h 834289"/>
                <a:gd name="connsiteX3" fmla="*/ 728744 w 1514273"/>
                <a:gd name="connsiteY3" fmla="*/ 823913 h 834289"/>
                <a:gd name="connsiteX4" fmla="*/ 38844 w 1514273"/>
                <a:gd name="connsiteY4" fmla="*/ 616744 h 834289"/>
                <a:gd name="connsiteX0" fmla="*/ 40343 w 1515591"/>
                <a:gd name="connsiteY0" fmla="*/ 616744 h 848727"/>
                <a:gd name="connsiteX1" fmla="*/ 862536 w 1515591"/>
                <a:gd name="connsiteY1" fmla="*/ 0 h 848727"/>
                <a:gd name="connsiteX2" fmla="*/ 1511954 w 1515591"/>
                <a:gd name="connsiteY2" fmla="*/ 183356 h 848727"/>
                <a:gd name="connsiteX3" fmla="*/ 699286 w 1515591"/>
                <a:gd name="connsiteY3" fmla="*/ 842963 h 848727"/>
                <a:gd name="connsiteX4" fmla="*/ 40343 w 1515591"/>
                <a:gd name="connsiteY4" fmla="*/ 616744 h 848727"/>
                <a:gd name="connsiteX0" fmla="*/ 44747 w 1519995"/>
                <a:gd name="connsiteY0" fmla="*/ 616744 h 843694"/>
                <a:gd name="connsiteX1" fmla="*/ 866940 w 1519995"/>
                <a:gd name="connsiteY1" fmla="*/ 0 h 843694"/>
                <a:gd name="connsiteX2" fmla="*/ 1516358 w 1519995"/>
                <a:gd name="connsiteY2" fmla="*/ 183356 h 843694"/>
                <a:gd name="connsiteX3" fmla="*/ 703690 w 1519995"/>
                <a:gd name="connsiteY3" fmla="*/ 842963 h 843694"/>
                <a:gd name="connsiteX4" fmla="*/ 44747 w 1519995"/>
                <a:gd name="connsiteY4" fmla="*/ 616744 h 84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9995" h="843694">
                  <a:moveTo>
                    <a:pt x="44747" y="616744"/>
                  </a:moveTo>
                  <a:lnTo>
                    <a:pt x="866940" y="0"/>
                  </a:lnTo>
                  <a:cubicBezTo>
                    <a:pt x="1083413" y="61119"/>
                    <a:pt x="1418947" y="-32545"/>
                    <a:pt x="1516358" y="183356"/>
                  </a:cubicBezTo>
                  <a:cubicBezTo>
                    <a:pt x="1572494" y="311150"/>
                    <a:pt x="964260" y="629444"/>
                    <a:pt x="703690" y="842963"/>
                  </a:cubicBezTo>
                  <a:cubicBezTo>
                    <a:pt x="476104" y="845345"/>
                    <a:pt x="-175342" y="854869"/>
                    <a:pt x="44747" y="616744"/>
                  </a:cubicBezTo>
                  <a:close/>
                </a:path>
              </a:pathLst>
            </a:custGeom>
            <a:gradFill flip="none" rotWithShape="1">
              <a:gsLst>
                <a:gs pos="1250">
                  <a:schemeClr val="accent4"/>
                </a:gs>
                <a:gs pos="55000">
                  <a:schemeClr val="accent1"/>
                </a:gs>
                <a:gs pos="100000">
                  <a:schemeClr val="accent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tangle 4"/>
            <p:cNvSpPr/>
            <p:nvPr/>
          </p:nvSpPr>
          <p:spPr>
            <a:xfrm>
              <a:off x="4825473" y="2465099"/>
              <a:ext cx="3982346" cy="794589"/>
            </a:xfrm>
            <a:custGeom>
              <a:avLst/>
              <a:gdLst>
                <a:gd name="connsiteX0" fmla="*/ 0 w 2359025"/>
                <a:gd name="connsiteY0" fmla="*/ 0 h 623888"/>
                <a:gd name="connsiteX1" fmla="*/ 2359025 w 2359025"/>
                <a:gd name="connsiteY1" fmla="*/ 0 h 623888"/>
                <a:gd name="connsiteX2" fmla="*/ 2359025 w 2359025"/>
                <a:gd name="connsiteY2" fmla="*/ 623888 h 623888"/>
                <a:gd name="connsiteX3" fmla="*/ 0 w 2359025"/>
                <a:gd name="connsiteY3" fmla="*/ 623888 h 623888"/>
                <a:gd name="connsiteX4" fmla="*/ 0 w 2359025"/>
                <a:gd name="connsiteY4" fmla="*/ 0 h 623888"/>
                <a:gd name="connsiteX0" fmla="*/ 0 w 3054350"/>
                <a:gd name="connsiteY0" fmla="*/ 0 h 728663"/>
                <a:gd name="connsiteX1" fmla="*/ 3054350 w 3054350"/>
                <a:gd name="connsiteY1" fmla="*/ 104775 h 728663"/>
                <a:gd name="connsiteX2" fmla="*/ 3054350 w 3054350"/>
                <a:gd name="connsiteY2" fmla="*/ 728663 h 728663"/>
                <a:gd name="connsiteX3" fmla="*/ 695325 w 3054350"/>
                <a:gd name="connsiteY3" fmla="*/ 728663 h 728663"/>
                <a:gd name="connsiteX4" fmla="*/ 0 w 3054350"/>
                <a:gd name="connsiteY4" fmla="*/ 0 h 728663"/>
                <a:gd name="connsiteX0" fmla="*/ 0 w 3054350"/>
                <a:gd name="connsiteY0" fmla="*/ 0 h 728663"/>
                <a:gd name="connsiteX1" fmla="*/ 3054350 w 3054350"/>
                <a:gd name="connsiteY1" fmla="*/ 104775 h 728663"/>
                <a:gd name="connsiteX2" fmla="*/ 3054350 w 3054350"/>
                <a:gd name="connsiteY2" fmla="*/ 728663 h 728663"/>
                <a:gd name="connsiteX3" fmla="*/ 100013 w 3054350"/>
                <a:gd name="connsiteY3" fmla="*/ 638176 h 728663"/>
                <a:gd name="connsiteX4" fmla="*/ 0 w 3054350"/>
                <a:gd name="connsiteY4" fmla="*/ 0 h 728663"/>
                <a:gd name="connsiteX0" fmla="*/ 0 w 3054350"/>
                <a:gd name="connsiteY0" fmla="*/ 0 h 752936"/>
                <a:gd name="connsiteX1" fmla="*/ 3054350 w 3054350"/>
                <a:gd name="connsiteY1" fmla="*/ 104775 h 752936"/>
                <a:gd name="connsiteX2" fmla="*/ 3054350 w 3054350"/>
                <a:gd name="connsiteY2" fmla="*/ 728663 h 752936"/>
                <a:gd name="connsiteX3" fmla="*/ 100013 w 3054350"/>
                <a:gd name="connsiteY3" fmla="*/ 638176 h 752936"/>
                <a:gd name="connsiteX4" fmla="*/ 0 w 3054350"/>
                <a:gd name="connsiteY4" fmla="*/ 0 h 752936"/>
                <a:gd name="connsiteX0" fmla="*/ 0 w 3054350"/>
                <a:gd name="connsiteY0" fmla="*/ 0 h 783995"/>
                <a:gd name="connsiteX1" fmla="*/ 3054350 w 3054350"/>
                <a:gd name="connsiteY1" fmla="*/ 104775 h 783995"/>
                <a:gd name="connsiteX2" fmla="*/ 3054350 w 3054350"/>
                <a:gd name="connsiteY2" fmla="*/ 728663 h 783995"/>
                <a:gd name="connsiteX3" fmla="*/ 572294 w 3054350"/>
                <a:gd name="connsiteY3" fmla="*/ 742953 h 783995"/>
                <a:gd name="connsiteX4" fmla="*/ 100013 w 3054350"/>
                <a:gd name="connsiteY4" fmla="*/ 638176 h 783995"/>
                <a:gd name="connsiteX5" fmla="*/ 0 w 3054350"/>
                <a:gd name="connsiteY5" fmla="*/ 0 h 783995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219869 w 3054350"/>
                <a:gd name="connsiteY1" fmla="*/ 7146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7475 w 3054350"/>
                <a:gd name="connsiteY1" fmla="*/ 69058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54350" h="742953">
                  <a:moveTo>
                    <a:pt x="0" y="0"/>
                  </a:moveTo>
                  <a:cubicBezTo>
                    <a:pt x="36777" y="24607"/>
                    <a:pt x="30692" y="46831"/>
                    <a:pt x="117475" y="69058"/>
                  </a:cubicBezTo>
                  <a:cubicBezTo>
                    <a:pt x="536839" y="141287"/>
                    <a:pt x="2073010" y="94457"/>
                    <a:pt x="3054350" y="104775"/>
                  </a:cubicBezTo>
                  <a:lnTo>
                    <a:pt x="3054350" y="728663"/>
                  </a:lnTo>
                  <a:lnTo>
                    <a:pt x="572294" y="742953"/>
                  </a:lnTo>
                  <a:cubicBezTo>
                    <a:pt x="213255" y="739778"/>
                    <a:pt x="133483" y="697708"/>
                    <a:pt x="100013" y="638176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250">
                  <a:schemeClr val="accent4"/>
                </a:gs>
                <a:gs pos="55000">
                  <a:schemeClr val="accent4"/>
                </a:gs>
                <a:gs pos="100000">
                  <a:schemeClr val="accent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>
                <a:solidFill>
                  <a:schemeClr val="tx1"/>
                </a:solidFill>
              </a:endParaRPr>
            </a:p>
          </p:txBody>
        </p:sp>
        <p:sp>
          <p:nvSpPr>
            <p:cNvPr id="25" name="Parallelogram 3"/>
            <p:cNvSpPr/>
            <p:nvPr/>
          </p:nvSpPr>
          <p:spPr>
            <a:xfrm flipV="1">
              <a:off x="4820946" y="4151968"/>
              <a:ext cx="1981812" cy="1177486"/>
            </a:xfrm>
            <a:custGeom>
              <a:avLst/>
              <a:gdLst>
                <a:gd name="connsiteX0" fmla="*/ 0 w 1745455"/>
                <a:gd name="connsiteY0" fmla="*/ 823913 h 823913"/>
                <a:gd name="connsiteX1" fmla="*/ 938874 w 1745455"/>
                <a:gd name="connsiteY1" fmla="*/ 0 h 823913"/>
                <a:gd name="connsiteX2" fmla="*/ 1745455 w 1745455"/>
                <a:gd name="connsiteY2" fmla="*/ 0 h 823913"/>
                <a:gd name="connsiteX3" fmla="*/ 806581 w 1745455"/>
                <a:gd name="connsiteY3" fmla="*/ 823913 h 823913"/>
                <a:gd name="connsiteX4" fmla="*/ 0 w 1745455"/>
                <a:gd name="connsiteY4" fmla="*/ 823913 h 823913"/>
                <a:gd name="connsiteX0" fmla="*/ 0 w 1635918"/>
                <a:gd name="connsiteY0" fmla="*/ 616744 h 823913"/>
                <a:gd name="connsiteX1" fmla="*/ 829337 w 1635918"/>
                <a:gd name="connsiteY1" fmla="*/ 0 h 823913"/>
                <a:gd name="connsiteX2" fmla="*/ 1635918 w 1635918"/>
                <a:gd name="connsiteY2" fmla="*/ 0 h 823913"/>
                <a:gd name="connsiteX3" fmla="*/ 697044 w 1635918"/>
                <a:gd name="connsiteY3" fmla="*/ 823913 h 823913"/>
                <a:gd name="connsiteX4" fmla="*/ 0 w 1635918"/>
                <a:gd name="connsiteY4" fmla="*/ 616744 h 823913"/>
                <a:gd name="connsiteX0" fmla="*/ 0 w 1721643"/>
                <a:gd name="connsiteY0" fmla="*/ 616744 h 823913"/>
                <a:gd name="connsiteX1" fmla="*/ 829337 w 1721643"/>
                <a:gd name="connsiteY1" fmla="*/ 0 h 823913"/>
                <a:gd name="connsiteX2" fmla="*/ 1721643 w 1721643"/>
                <a:gd name="connsiteY2" fmla="*/ 76200 h 823913"/>
                <a:gd name="connsiteX3" fmla="*/ 697044 w 1721643"/>
                <a:gd name="connsiteY3" fmla="*/ 823913 h 823913"/>
                <a:gd name="connsiteX4" fmla="*/ 0 w 1721643"/>
                <a:gd name="connsiteY4" fmla="*/ 616744 h 823913"/>
                <a:gd name="connsiteX0" fmla="*/ 0 w 1714499"/>
                <a:gd name="connsiteY0" fmla="*/ 616744 h 823913"/>
                <a:gd name="connsiteX1" fmla="*/ 822193 w 1714499"/>
                <a:gd name="connsiteY1" fmla="*/ 0 h 823913"/>
                <a:gd name="connsiteX2" fmla="*/ 1714499 w 1714499"/>
                <a:gd name="connsiteY2" fmla="*/ 76200 h 823913"/>
                <a:gd name="connsiteX3" fmla="*/ 689900 w 1714499"/>
                <a:gd name="connsiteY3" fmla="*/ 823913 h 823913"/>
                <a:gd name="connsiteX4" fmla="*/ 0 w 1714499"/>
                <a:gd name="connsiteY4" fmla="*/ 616744 h 823913"/>
                <a:gd name="connsiteX0" fmla="*/ 38949 w 1753448"/>
                <a:gd name="connsiteY0" fmla="*/ 616744 h 823913"/>
                <a:gd name="connsiteX1" fmla="*/ 861142 w 1753448"/>
                <a:gd name="connsiteY1" fmla="*/ 0 h 823913"/>
                <a:gd name="connsiteX2" fmla="*/ 1753448 w 1753448"/>
                <a:gd name="connsiteY2" fmla="*/ 76200 h 823913"/>
                <a:gd name="connsiteX3" fmla="*/ 728849 w 1753448"/>
                <a:gd name="connsiteY3" fmla="*/ 823913 h 823913"/>
                <a:gd name="connsiteX4" fmla="*/ 38949 w 1753448"/>
                <a:gd name="connsiteY4" fmla="*/ 616744 h 823913"/>
                <a:gd name="connsiteX0" fmla="*/ 38844 w 1753343"/>
                <a:gd name="connsiteY0" fmla="*/ 616744 h 834289"/>
                <a:gd name="connsiteX1" fmla="*/ 861037 w 1753343"/>
                <a:gd name="connsiteY1" fmla="*/ 0 h 834289"/>
                <a:gd name="connsiteX2" fmla="*/ 1753343 w 1753343"/>
                <a:gd name="connsiteY2" fmla="*/ 76200 h 834289"/>
                <a:gd name="connsiteX3" fmla="*/ 728744 w 1753343"/>
                <a:gd name="connsiteY3" fmla="*/ 823913 h 834289"/>
                <a:gd name="connsiteX4" fmla="*/ 38844 w 1753343"/>
                <a:gd name="connsiteY4" fmla="*/ 616744 h 834289"/>
                <a:gd name="connsiteX0" fmla="*/ 38844 w 1510455"/>
                <a:gd name="connsiteY0" fmla="*/ 616744 h 834289"/>
                <a:gd name="connsiteX1" fmla="*/ 861037 w 1510455"/>
                <a:gd name="connsiteY1" fmla="*/ 0 h 834289"/>
                <a:gd name="connsiteX2" fmla="*/ 1510455 w 1510455"/>
                <a:gd name="connsiteY2" fmla="*/ 183356 h 834289"/>
                <a:gd name="connsiteX3" fmla="*/ 728744 w 1510455"/>
                <a:gd name="connsiteY3" fmla="*/ 823913 h 834289"/>
                <a:gd name="connsiteX4" fmla="*/ 38844 w 1510455"/>
                <a:gd name="connsiteY4" fmla="*/ 616744 h 834289"/>
                <a:gd name="connsiteX0" fmla="*/ 38844 w 1510455"/>
                <a:gd name="connsiteY0" fmla="*/ 616744 h 834289"/>
                <a:gd name="connsiteX1" fmla="*/ 861037 w 1510455"/>
                <a:gd name="connsiteY1" fmla="*/ 0 h 834289"/>
                <a:gd name="connsiteX2" fmla="*/ 1510455 w 1510455"/>
                <a:gd name="connsiteY2" fmla="*/ 183356 h 834289"/>
                <a:gd name="connsiteX3" fmla="*/ 728744 w 1510455"/>
                <a:gd name="connsiteY3" fmla="*/ 823913 h 834289"/>
                <a:gd name="connsiteX4" fmla="*/ 38844 w 1510455"/>
                <a:gd name="connsiteY4" fmla="*/ 616744 h 834289"/>
                <a:gd name="connsiteX0" fmla="*/ 38844 w 1514273"/>
                <a:gd name="connsiteY0" fmla="*/ 616744 h 834289"/>
                <a:gd name="connsiteX1" fmla="*/ 861037 w 1514273"/>
                <a:gd name="connsiteY1" fmla="*/ 0 h 834289"/>
                <a:gd name="connsiteX2" fmla="*/ 1510455 w 1514273"/>
                <a:gd name="connsiteY2" fmla="*/ 183356 h 834289"/>
                <a:gd name="connsiteX3" fmla="*/ 728744 w 1514273"/>
                <a:gd name="connsiteY3" fmla="*/ 823913 h 834289"/>
                <a:gd name="connsiteX4" fmla="*/ 38844 w 1514273"/>
                <a:gd name="connsiteY4" fmla="*/ 616744 h 834289"/>
                <a:gd name="connsiteX0" fmla="*/ 40343 w 1515591"/>
                <a:gd name="connsiteY0" fmla="*/ 616744 h 848727"/>
                <a:gd name="connsiteX1" fmla="*/ 862536 w 1515591"/>
                <a:gd name="connsiteY1" fmla="*/ 0 h 848727"/>
                <a:gd name="connsiteX2" fmla="*/ 1511954 w 1515591"/>
                <a:gd name="connsiteY2" fmla="*/ 183356 h 848727"/>
                <a:gd name="connsiteX3" fmla="*/ 699286 w 1515591"/>
                <a:gd name="connsiteY3" fmla="*/ 842963 h 848727"/>
                <a:gd name="connsiteX4" fmla="*/ 40343 w 1515591"/>
                <a:gd name="connsiteY4" fmla="*/ 616744 h 848727"/>
                <a:gd name="connsiteX0" fmla="*/ 44747 w 1519995"/>
                <a:gd name="connsiteY0" fmla="*/ 616744 h 843694"/>
                <a:gd name="connsiteX1" fmla="*/ 866940 w 1519995"/>
                <a:gd name="connsiteY1" fmla="*/ 0 h 843694"/>
                <a:gd name="connsiteX2" fmla="*/ 1516358 w 1519995"/>
                <a:gd name="connsiteY2" fmla="*/ 183356 h 843694"/>
                <a:gd name="connsiteX3" fmla="*/ 703690 w 1519995"/>
                <a:gd name="connsiteY3" fmla="*/ 842963 h 843694"/>
                <a:gd name="connsiteX4" fmla="*/ 44747 w 1519995"/>
                <a:gd name="connsiteY4" fmla="*/ 616744 h 84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9995" h="843694">
                  <a:moveTo>
                    <a:pt x="44747" y="616744"/>
                  </a:moveTo>
                  <a:lnTo>
                    <a:pt x="866940" y="0"/>
                  </a:lnTo>
                  <a:cubicBezTo>
                    <a:pt x="1083413" y="61119"/>
                    <a:pt x="1418947" y="-32545"/>
                    <a:pt x="1516358" y="183356"/>
                  </a:cubicBezTo>
                  <a:cubicBezTo>
                    <a:pt x="1572494" y="311150"/>
                    <a:pt x="964260" y="629444"/>
                    <a:pt x="703690" y="842963"/>
                  </a:cubicBezTo>
                  <a:cubicBezTo>
                    <a:pt x="476104" y="845345"/>
                    <a:pt x="-175342" y="854869"/>
                    <a:pt x="44747" y="616744"/>
                  </a:cubicBezTo>
                  <a:close/>
                </a:path>
              </a:pathLst>
            </a:custGeom>
            <a:gradFill flip="none" rotWithShape="1">
              <a:gsLst>
                <a:gs pos="1250">
                  <a:schemeClr val="accent4"/>
                </a:gs>
                <a:gs pos="55000">
                  <a:schemeClr val="accent1"/>
                </a:gs>
                <a:gs pos="100000">
                  <a:schemeClr val="accent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4"/>
            <p:cNvSpPr/>
            <p:nvPr/>
          </p:nvSpPr>
          <p:spPr>
            <a:xfrm flipV="1">
              <a:off x="4825473" y="3482954"/>
              <a:ext cx="3982346" cy="794589"/>
            </a:xfrm>
            <a:custGeom>
              <a:avLst/>
              <a:gdLst>
                <a:gd name="connsiteX0" fmla="*/ 0 w 2359025"/>
                <a:gd name="connsiteY0" fmla="*/ 0 h 623888"/>
                <a:gd name="connsiteX1" fmla="*/ 2359025 w 2359025"/>
                <a:gd name="connsiteY1" fmla="*/ 0 h 623888"/>
                <a:gd name="connsiteX2" fmla="*/ 2359025 w 2359025"/>
                <a:gd name="connsiteY2" fmla="*/ 623888 h 623888"/>
                <a:gd name="connsiteX3" fmla="*/ 0 w 2359025"/>
                <a:gd name="connsiteY3" fmla="*/ 623888 h 623888"/>
                <a:gd name="connsiteX4" fmla="*/ 0 w 2359025"/>
                <a:gd name="connsiteY4" fmla="*/ 0 h 623888"/>
                <a:gd name="connsiteX0" fmla="*/ 0 w 3054350"/>
                <a:gd name="connsiteY0" fmla="*/ 0 h 728663"/>
                <a:gd name="connsiteX1" fmla="*/ 3054350 w 3054350"/>
                <a:gd name="connsiteY1" fmla="*/ 104775 h 728663"/>
                <a:gd name="connsiteX2" fmla="*/ 3054350 w 3054350"/>
                <a:gd name="connsiteY2" fmla="*/ 728663 h 728663"/>
                <a:gd name="connsiteX3" fmla="*/ 695325 w 3054350"/>
                <a:gd name="connsiteY3" fmla="*/ 728663 h 728663"/>
                <a:gd name="connsiteX4" fmla="*/ 0 w 3054350"/>
                <a:gd name="connsiteY4" fmla="*/ 0 h 728663"/>
                <a:gd name="connsiteX0" fmla="*/ 0 w 3054350"/>
                <a:gd name="connsiteY0" fmla="*/ 0 h 728663"/>
                <a:gd name="connsiteX1" fmla="*/ 3054350 w 3054350"/>
                <a:gd name="connsiteY1" fmla="*/ 104775 h 728663"/>
                <a:gd name="connsiteX2" fmla="*/ 3054350 w 3054350"/>
                <a:gd name="connsiteY2" fmla="*/ 728663 h 728663"/>
                <a:gd name="connsiteX3" fmla="*/ 100013 w 3054350"/>
                <a:gd name="connsiteY3" fmla="*/ 638176 h 728663"/>
                <a:gd name="connsiteX4" fmla="*/ 0 w 3054350"/>
                <a:gd name="connsiteY4" fmla="*/ 0 h 728663"/>
                <a:gd name="connsiteX0" fmla="*/ 0 w 3054350"/>
                <a:gd name="connsiteY0" fmla="*/ 0 h 752936"/>
                <a:gd name="connsiteX1" fmla="*/ 3054350 w 3054350"/>
                <a:gd name="connsiteY1" fmla="*/ 104775 h 752936"/>
                <a:gd name="connsiteX2" fmla="*/ 3054350 w 3054350"/>
                <a:gd name="connsiteY2" fmla="*/ 728663 h 752936"/>
                <a:gd name="connsiteX3" fmla="*/ 100013 w 3054350"/>
                <a:gd name="connsiteY3" fmla="*/ 638176 h 752936"/>
                <a:gd name="connsiteX4" fmla="*/ 0 w 3054350"/>
                <a:gd name="connsiteY4" fmla="*/ 0 h 752936"/>
                <a:gd name="connsiteX0" fmla="*/ 0 w 3054350"/>
                <a:gd name="connsiteY0" fmla="*/ 0 h 783995"/>
                <a:gd name="connsiteX1" fmla="*/ 3054350 w 3054350"/>
                <a:gd name="connsiteY1" fmla="*/ 104775 h 783995"/>
                <a:gd name="connsiteX2" fmla="*/ 3054350 w 3054350"/>
                <a:gd name="connsiteY2" fmla="*/ 728663 h 783995"/>
                <a:gd name="connsiteX3" fmla="*/ 572294 w 3054350"/>
                <a:gd name="connsiteY3" fmla="*/ 742953 h 783995"/>
                <a:gd name="connsiteX4" fmla="*/ 100013 w 3054350"/>
                <a:gd name="connsiteY4" fmla="*/ 638176 h 783995"/>
                <a:gd name="connsiteX5" fmla="*/ 0 w 3054350"/>
                <a:gd name="connsiteY5" fmla="*/ 0 h 783995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219869 w 3054350"/>
                <a:gd name="connsiteY1" fmla="*/ 7146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7475 w 3054350"/>
                <a:gd name="connsiteY1" fmla="*/ 69058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54350" h="742953">
                  <a:moveTo>
                    <a:pt x="0" y="0"/>
                  </a:moveTo>
                  <a:cubicBezTo>
                    <a:pt x="36777" y="24607"/>
                    <a:pt x="30692" y="46831"/>
                    <a:pt x="117475" y="69058"/>
                  </a:cubicBezTo>
                  <a:cubicBezTo>
                    <a:pt x="536839" y="141287"/>
                    <a:pt x="2073010" y="94457"/>
                    <a:pt x="3054350" y="104775"/>
                  </a:cubicBezTo>
                  <a:lnTo>
                    <a:pt x="3054350" y="728663"/>
                  </a:lnTo>
                  <a:lnTo>
                    <a:pt x="572294" y="742953"/>
                  </a:lnTo>
                  <a:cubicBezTo>
                    <a:pt x="213255" y="739778"/>
                    <a:pt x="133483" y="697708"/>
                    <a:pt x="100013" y="638176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250">
                  <a:schemeClr val="accent4"/>
                </a:gs>
                <a:gs pos="55000">
                  <a:schemeClr val="accent4"/>
                </a:gs>
                <a:gs pos="100000">
                  <a:schemeClr val="accent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tangle 4"/>
            <p:cNvSpPr/>
            <p:nvPr/>
          </p:nvSpPr>
          <p:spPr>
            <a:xfrm rot="10800000">
              <a:off x="327746" y="1089009"/>
              <a:ext cx="6472340" cy="794589"/>
            </a:xfrm>
            <a:custGeom>
              <a:avLst/>
              <a:gdLst>
                <a:gd name="connsiteX0" fmla="*/ 0 w 2359025"/>
                <a:gd name="connsiteY0" fmla="*/ 0 h 623888"/>
                <a:gd name="connsiteX1" fmla="*/ 2359025 w 2359025"/>
                <a:gd name="connsiteY1" fmla="*/ 0 h 623888"/>
                <a:gd name="connsiteX2" fmla="*/ 2359025 w 2359025"/>
                <a:gd name="connsiteY2" fmla="*/ 623888 h 623888"/>
                <a:gd name="connsiteX3" fmla="*/ 0 w 2359025"/>
                <a:gd name="connsiteY3" fmla="*/ 623888 h 623888"/>
                <a:gd name="connsiteX4" fmla="*/ 0 w 2359025"/>
                <a:gd name="connsiteY4" fmla="*/ 0 h 623888"/>
                <a:gd name="connsiteX0" fmla="*/ 0 w 3054350"/>
                <a:gd name="connsiteY0" fmla="*/ 0 h 728663"/>
                <a:gd name="connsiteX1" fmla="*/ 3054350 w 3054350"/>
                <a:gd name="connsiteY1" fmla="*/ 104775 h 728663"/>
                <a:gd name="connsiteX2" fmla="*/ 3054350 w 3054350"/>
                <a:gd name="connsiteY2" fmla="*/ 728663 h 728663"/>
                <a:gd name="connsiteX3" fmla="*/ 695325 w 3054350"/>
                <a:gd name="connsiteY3" fmla="*/ 728663 h 728663"/>
                <a:gd name="connsiteX4" fmla="*/ 0 w 3054350"/>
                <a:gd name="connsiteY4" fmla="*/ 0 h 728663"/>
                <a:gd name="connsiteX0" fmla="*/ 0 w 3054350"/>
                <a:gd name="connsiteY0" fmla="*/ 0 h 728663"/>
                <a:gd name="connsiteX1" fmla="*/ 3054350 w 3054350"/>
                <a:gd name="connsiteY1" fmla="*/ 104775 h 728663"/>
                <a:gd name="connsiteX2" fmla="*/ 3054350 w 3054350"/>
                <a:gd name="connsiteY2" fmla="*/ 728663 h 728663"/>
                <a:gd name="connsiteX3" fmla="*/ 100013 w 3054350"/>
                <a:gd name="connsiteY3" fmla="*/ 638176 h 728663"/>
                <a:gd name="connsiteX4" fmla="*/ 0 w 3054350"/>
                <a:gd name="connsiteY4" fmla="*/ 0 h 728663"/>
                <a:gd name="connsiteX0" fmla="*/ 0 w 3054350"/>
                <a:gd name="connsiteY0" fmla="*/ 0 h 752936"/>
                <a:gd name="connsiteX1" fmla="*/ 3054350 w 3054350"/>
                <a:gd name="connsiteY1" fmla="*/ 104775 h 752936"/>
                <a:gd name="connsiteX2" fmla="*/ 3054350 w 3054350"/>
                <a:gd name="connsiteY2" fmla="*/ 728663 h 752936"/>
                <a:gd name="connsiteX3" fmla="*/ 100013 w 3054350"/>
                <a:gd name="connsiteY3" fmla="*/ 638176 h 752936"/>
                <a:gd name="connsiteX4" fmla="*/ 0 w 3054350"/>
                <a:gd name="connsiteY4" fmla="*/ 0 h 752936"/>
                <a:gd name="connsiteX0" fmla="*/ 0 w 3054350"/>
                <a:gd name="connsiteY0" fmla="*/ 0 h 783995"/>
                <a:gd name="connsiteX1" fmla="*/ 3054350 w 3054350"/>
                <a:gd name="connsiteY1" fmla="*/ 104775 h 783995"/>
                <a:gd name="connsiteX2" fmla="*/ 3054350 w 3054350"/>
                <a:gd name="connsiteY2" fmla="*/ 728663 h 783995"/>
                <a:gd name="connsiteX3" fmla="*/ 572294 w 3054350"/>
                <a:gd name="connsiteY3" fmla="*/ 742953 h 783995"/>
                <a:gd name="connsiteX4" fmla="*/ 100013 w 3054350"/>
                <a:gd name="connsiteY4" fmla="*/ 638176 h 783995"/>
                <a:gd name="connsiteX5" fmla="*/ 0 w 3054350"/>
                <a:gd name="connsiteY5" fmla="*/ 0 h 783995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219869 w 3054350"/>
                <a:gd name="connsiteY1" fmla="*/ 7146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7475 w 3054350"/>
                <a:gd name="connsiteY1" fmla="*/ 69058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54350" h="742953">
                  <a:moveTo>
                    <a:pt x="0" y="0"/>
                  </a:moveTo>
                  <a:cubicBezTo>
                    <a:pt x="36777" y="24607"/>
                    <a:pt x="30692" y="46831"/>
                    <a:pt x="117475" y="69058"/>
                  </a:cubicBezTo>
                  <a:cubicBezTo>
                    <a:pt x="536839" y="141287"/>
                    <a:pt x="2073010" y="94457"/>
                    <a:pt x="3054350" y="104775"/>
                  </a:cubicBezTo>
                  <a:lnTo>
                    <a:pt x="3054350" y="728663"/>
                  </a:lnTo>
                  <a:lnTo>
                    <a:pt x="572294" y="742953"/>
                  </a:lnTo>
                  <a:cubicBezTo>
                    <a:pt x="213255" y="739778"/>
                    <a:pt x="133483" y="697708"/>
                    <a:pt x="100013" y="638176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2000">
                  <a:schemeClr val="accent1"/>
                </a:gs>
                <a:gs pos="53000">
                  <a:schemeClr val="accent4"/>
                </a:gs>
                <a:gs pos="100000">
                  <a:schemeClr val="accent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tangle 4"/>
            <p:cNvSpPr/>
            <p:nvPr/>
          </p:nvSpPr>
          <p:spPr>
            <a:xfrm rot="10800000" flipV="1">
              <a:off x="327746" y="5090776"/>
              <a:ext cx="6472340" cy="794589"/>
            </a:xfrm>
            <a:custGeom>
              <a:avLst/>
              <a:gdLst>
                <a:gd name="connsiteX0" fmla="*/ 0 w 2359025"/>
                <a:gd name="connsiteY0" fmla="*/ 0 h 623888"/>
                <a:gd name="connsiteX1" fmla="*/ 2359025 w 2359025"/>
                <a:gd name="connsiteY1" fmla="*/ 0 h 623888"/>
                <a:gd name="connsiteX2" fmla="*/ 2359025 w 2359025"/>
                <a:gd name="connsiteY2" fmla="*/ 623888 h 623888"/>
                <a:gd name="connsiteX3" fmla="*/ 0 w 2359025"/>
                <a:gd name="connsiteY3" fmla="*/ 623888 h 623888"/>
                <a:gd name="connsiteX4" fmla="*/ 0 w 2359025"/>
                <a:gd name="connsiteY4" fmla="*/ 0 h 623888"/>
                <a:gd name="connsiteX0" fmla="*/ 0 w 3054350"/>
                <a:gd name="connsiteY0" fmla="*/ 0 h 728663"/>
                <a:gd name="connsiteX1" fmla="*/ 3054350 w 3054350"/>
                <a:gd name="connsiteY1" fmla="*/ 104775 h 728663"/>
                <a:gd name="connsiteX2" fmla="*/ 3054350 w 3054350"/>
                <a:gd name="connsiteY2" fmla="*/ 728663 h 728663"/>
                <a:gd name="connsiteX3" fmla="*/ 695325 w 3054350"/>
                <a:gd name="connsiteY3" fmla="*/ 728663 h 728663"/>
                <a:gd name="connsiteX4" fmla="*/ 0 w 3054350"/>
                <a:gd name="connsiteY4" fmla="*/ 0 h 728663"/>
                <a:gd name="connsiteX0" fmla="*/ 0 w 3054350"/>
                <a:gd name="connsiteY0" fmla="*/ 0 h 728663"/>
                <a:gd name="connsiteX1" fmla="*/ 3054350 w 3054350"/>
                <a:gd name="connsiteY1" fmla="*/ 104775 h 728663"/>
                <a:gd name="connsiteX2" fmla="*/ 3054350 w 3054350"/>
                <a:gd name="connsiteY2" fmla="*/ 728663 h 728663"/>
                <a:gd name="connsiteX3" fmla="*/ 100013 w 3054350"/>
                <a:gd name="connsiteY3" fmla="*/ 638176 h 728663"/>
                <a:gd name="connsiteX4" fmla="*/ 0 w 3054350"/>
                <a:gd name="connsiteY4" fmla="*/ 0 h 728663"/>
                <a:gd name="connsiteX0" fmla="*/ 0 w 3054350"/>
                <a:gd name="connsiteY0" fmla="*/ 0 h 752936"/>
                <a:gd name="connsiteX1" fmla="*/ 3054350 w 3054350"/>
                <a:gd name="connsiteY1" fmla="*/ 104775 h 752936"/>
                <a:gd name="connsiteX2" fmla="*/ 3054350 w 3054350"/>
                <a:gd name="connsiteY2" fmla="*/ 728663 h 752936"/>
                <a:gd name="connsiteX3" fmla="*/ 100013 w 3054350"/>
                <a:gd name="connsiteY3" fmla="*/ 638176 h 752936"/>
                <a:gd name="connsiteX4" fmla="*/ 0 w 3054350"/>
                <a:gd name="connsiteY4" fmla="*/ 0 h 752936"/>
                <a:gd name="connsiteX0" fmla="*/ 0 w 3054350"/>
                <a:gd name="connsiteY0" fmla="*/ 0 h 783995"/>
                <a:gd name="connsiteX1" fmla="*/ 3054350 w 3054350"/>
                <a:gd name="connsiteY1" fmla="*/ 104775 h 783995"/>
                <a:gd name="connsiteX2" fmla="*/ 3054350 w 3054350"/>
                <a:gd name="connsiteY2" fmla="*/ 728663 h 783995"/>
                <a:gd name="connsiteX3" fmla="*/ 572294 w 3054350"/>
                <a:gd name="connsiteY3" fmla="*/ 742953 h 783995"/>
                <a:gd name="connsiteX4" fmla="*/ 100013 w 3054350"/>
                <a:gd name="connsiteY4" fmla="*/ 638176 h 783995"/>
                <a:gd name="connsiteX5" fmla="*/ 0 w 3054350"/>
                <a:gd name="connsiteY5" fmla="*/ 0 h 783995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3054350 w 3054350"/>
                <a:gd name="connsiteY1" fmla="*/ 104775 h 742953"/>
                <a:gd name="connsiteX2" fmla="*/ 3054350 w 3054350"/>
                <a:gd name="connsiteY2" fmla="*/ 728663 h 742953"/>
                <a:gd name="connsiteX3" fmla="*/ 572294 w 3054350"/>
                <a:gd name="connsiteY3" fmla="*/ 742953 h 742953"/>
                <a:gd name="connsiteX4" fmla="*/ 100013 w 3054350"/>
                <a:gd name="connsiteY4" fmla="*/ 638176 h 742953"/>
                <a:gd name="connsiteX5" fmla="*/ 0 w 3054350"/>
                <a:gd name="connsiteY5" fmla="*/ 0 h 742953"/>
                <a:gd name="connsiteX0" fmla="*/ 0 w 3054350"/>
                <a:gd name="connsiteY0" fmla="*/ 0 h 742953"/>
                <a:gd name="connsiteX1" fmla="*/ 219869 w 3054350"/>
                <a:gd name="connsiteY1" fmla="*/ 7146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0331 w 3054350"/>
                <a:gd name="connsiteY1" fmla="*/ 73821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  <a:gd name="connsiteX0" fmla="*/ 0 w 3054350"/>
                <a:gd name="connsiteY0" fmla="*/ 0 h 742953"/>
                <a:gd name="connsiteX1" fmla="*/ 117475 w 3054350"/>
                <a:gd name="connsiteY1" fmla="*/ 69058 h 742953"/>
                <a:gd name="connsiteX2" fmla="*/ 3054350 w 3054350"/>
                <a:gd name="connsiteY2" fmla="*/ 104775 h 742953"/>
                <a:gd name="connsiteX3" fmla="*/ 3054350 w 3054350"/>
                <a:gd name="connsiteY3" fmla="*/ 728663 h 742953"/>
                <a:gd name="connsiteX4" fmla="*/ 572294 w 3054350"/>
                <a:gd name="connsiteY4" fmla="*/ 742953 h 742953"/>
                <a:gd name="connsiteX5" fmla="*/ 100013 w 3054350"/>
                <a:gd name="connsiteY5" fmla="*/ 638176 h 742953"/>
                <a:gd name="connsiteX6" fmla="*/ 0 w 3054350"/>
                <a:gd name="connsiteY6" fmla="*/ 0 h 74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54350" h="742953">
                  <a:moveTo>
                    <a:pt x="0" y="0"/>
                  </a:moveTo>
                  <a:cubicBezTo>
                    <a:pt x="36777" y="24607"/>
                    <a:pt x="30692" y="46831"/>
                    <a:pt x="117475" y="69058"/>
                  </a:cubicBezTo>
                  <a:cubicBezTo>
                    <a:pt x="536839" y="141287"/>
                    <a:pt x="2073010" y="94457"/>
                    <a:pt x="3054350" y="104775"/>
                  </a:cubicBezTo>
                  <a:lnTo>
                    <a:pt x="3054350" y="728663"/>
                  </a:lnTo>
                  <a:lnTo>
                    <a:pt x="572294" y="742953"/>
                  </a:lnTo>
                  <a:cubicBezTo>
                    <a:pt x="213255" y="739778"/>
                    <a:pt x="133483" y="697708"/>
                    <a:pt x="100013" y="638176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2000">
                  <a:schemeClr val="accent1"/>
                </a:gs>
                <a:gs pos="53000">
                  <a:schemeClr val="accent4"/>
                </a:gs>
                <a:gs pos="100000">
                  <a:schemeClr val="accent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50676" y="1316031"/>
              <a:ext cx="2107949" cy="23083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en-US" sz="1500" b="1" dirty="0">
                  <a:solidFill>
                    <a:schemeClr val="bg1"/>
                  </a:solidFill>
                  <a:latin typeface="+mn-lt"/>
                </a:rPr>
                <a:t>Market/account drivers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450675" y="5372655"/>
              <a:ext cx="3230051" cy="23083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en-US" sz="1500" b="1" dirty="0">
                  <a:solidFill>
                    <a:schemeClr val="bg1"/>
                  </a:solidFill>
                  <a:latin typeface="+mn-lt"/>
                </a:rPr>
                <a:t>Internal status/performance drivers</a:t>
              </a:r>
            </a:p>
          </p:txBody>
        </p:sp>
        <p:cxnSp>
          <p:nvCxnSpPr>
            <p:cNvPr id="17" name="Straight Connector 16"/>
            <p:cNvCxnSpPr/>
            <p:nvPr/>
          </p:nvCxnSpPr>
          <p:spPr>
            <a:xfrm flipV="1">
              <a:off x="327746" y="3392361"/>
              <a:ext cx="7175140" cy="2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Chevron 54"/>
            <p:cNvSpPr/>
            <p:nvPr/>
          </p:nvSpPr>
          <p:spPr>
            <a:xfrm>
              <a:off x="6991561" y="2651127"/>
              <a:ext cx="464109" cy="51831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>
                <a:solidFill>
                  <a:schemeClr val="tx1"/>
                </a:solidFill>
              </a:endParaRPr>
            </a:p>
          </p:txBody>
        </p:sp>
        <p:sp>
          <p:nvSpPr>
            <p:cNvPr id="58" name="Chevron 57"/>
            <p:cNvSpPr/>
            <p:nvPr/>
          </p:nvSpPr>
          <p:spPr>
            <a:xfrm>
              <a:off x="6991562" y="3572558"/>
              <a:ext cx="464109" cy="51831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>
                <a:solidFill>
                  <a:schemeClr val="tx1"/>
                </a:solidFill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450676" y="1820516"/>
              <a:ext cx="4493198" cy="1481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796235" eaLnBrk="1" hangingPunct="1">
                <a:buClr>
                  <a:schemeClr val="tx2"/>
                </a:buClr>
                <a:defRPr kumimoji="1" sz="1423" baseline="0">
                  <a:latin typeface="+mn-lt"/>
                  <a:cs typeface="Arial" pitchFamily="34" charset="0"/>
                </a:defRPr>
              </a:lvl1pPr>
              <a:lvl2pPr marL="172235" indent="-170824" defTabSz="79623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423" baseline="0">
                  <a:latin typeface="+mn-lt"/>
                  <a:cs typeface="Arial" pitchFamily="34" charset="0"/>
                </a:defRPr>
              </a:lvl2pPr>
              <a:lvl3pPr marL="406588" indent="-232941" defTabSz="79623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sz="1423" baseline="0">
                  <a:latin typeface="+mn-lt"/>
                  <a:cs typeface="Arial" pitchFamily="34" charset="0"/>
                </a:defRPr>
              </a:lvl3pPr>
              <a:lvl4pPr marL="546353" indent="-138353" defTabSz="79623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sz="1423" baseline="0">
                  <a:latin typeface="+mn-lt"/>
                  <a:cs typeface="Arial" pitchFamily="34" charset="0"/>
                </a:defRPr>
              </a:lvl4pPr>
              <a:lvl5pPr marL="666804" indent="-115765" defTabSz="79623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sz="1423" baseline="0">
                  <a:latin typeface="+mn-lt"/>
                  <a:cs typeface="Arial" pitchFamily="34" charset="0"/>
                </a:defRPr>
              </a:lvl5pPr>
              <a:lvl6pPr marL="666804" indent="-115765" defTabSz="796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423">
                  <a:latin typeface="+mn-lt"/>
                  <a:ea typeface="MS PGothic" pitchFamily="34" charset="-128"/>
                </a:defRPr>
              </a:lvl6pPr>
              <a:lvl7pPr marL="666804" indent="-115765" defTabSz="796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423">
                  <a:latin typeface="+mn-lt"/>
                  <a:ea typeface="MS PGothic" pitchFamily="34" charset="-128"/>
                </a:defRPr>
              </a:lvl7pPr>
              <a:lvl8pPr marL="666804" indent="-115765" defTabSz="796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423">
                  <a:latin typeface="+mn-lt"/>
                  <a:ea typeface="MS PGothic" pitchFamily="34" charset="-128"/>
                </a:defRPr>
              </a:lvl8pPr>
              <a:lvl9pPr marL="666804" indent="-115765" defTabSz="796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423">
                  <a:latin typeface="+mn-lt"/>
                  <a:ea typeface="MS PGothic" pitchFamily="34" charset="-128"/>
                </a:defRPr>
              </a:lvl9pPr>
            </a:lstStyle>
            <a:p>
              <a:pPr lvl="1">
                <a:spcBef>
                  <a:spcPts val="600"/>
                </a:spcBef>
              </a:pPr>
              <a:r>
                <a:rPr lang="en-US" sz="1500" dirty="0">
                  <a:ea typeface="ＭＳ Ｐゴシック" panose="020B0600070205080204" pitchFamily="34" charset="-128"/>
                  <a:cs typeface="+mn-cs"/>
                </a:rPr>
                <a:t>Case volumes and volume growth</a:t>
              </a:r>
            </a:p>
            <a:p>
              <a:pPr lvl="1">
                <a:spcBef>
                  <a:spcPts val="600"/>
                </a:spcBef>
              </a:pPr>
              <a:r>
                <a:rPr lang="en-US" sz="1500" dirty="0">
                  <a:ea typeface="ＭＳ Ｐゴシック" panose="020B0600070205080204" pitchFamily="34" charset="-128"/>
                  <a:cs typeface="+mn-cs"/>
                </a:rPr>
                <a:t>Surgeon training(e.g., Endo trained CT surgeons)</a:t>
              </a:r>
            </a:p>
            <a:p>
              <a:pPr lvl="1">
                <a:spcBef>
                  <a:spcPts val="600"/>
                </a:spcBef>
              </a:pPr>
              <a:r>
                <a:rPr lang="en-US" sz="1500" dirty="0">
                  <a:ea typeface="ＭＳ Ｐゴシック" panose="020B0600070205080204" pitchFamily="34" charset="-128"/>
                  <a:cs typeface="+mn-cs"/>
                </a:rPr>
                <a:t>Hospital contracting control levels</a:t>
              </a:r>
            </a:p>
            <a:p>
              <a:pPr lvl="1">
                <a:spcBef>
                  <a:spcPts val="600"/>
                </a:spcBef>
              </a:pPr>
              <a:r>
                <a:rPr lang="en-US" sz="1500" dirty="0">
                  <a:ea typeface="ＭＳ Ｐゴシック" panose="020B0600070205080204" pitchFamily="34" charset="-128"/>
                  <a:cs typeface="+mn-cs"/>
                </a:rPr>
                <a:t>Competitive dynamics (incumbents)</a:t>
              </a:r>
            </a:p>
            <a:p>
              <a:pPr lvl="1">
                <a:spcBef>
                  <a:spcPts val="600"/>
                </a:spcBef>
              </a:pPr>
              <a:r>
                <a:rPr lang="en-US" sz="1500" dirty="0">
                  <a:ea typeface="ＭＳ Ｐゴシック" panose="020B0600070205080204" pitchFamily="34" charset="-128"/>
                  <a:cs typeface="+mn-cs"/>
                </a:rPr>
                <a:t>Other provider behavioral drivers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451161" y="3637945"/>
              <a:ext cx="4235140" cy="1384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796235" eaLnBrk="1" hangingPunct="1">
                <a:buClr>
                  <a:schemeClr val="tx2"/>
                </a:buClr>
                <a:defRPr kumimoji="1" sz="1423" baseline="0">
                  <a:latin typeface="+mn-lt"/>
                  <a:cs typeface="Arial" pitchFamily="34" charset="0"/>
                </a:defRPr>
              </a:lvl1pPr>
              <a:lvl2pPr marL="172235" indent="-170824" defTabSz="79623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423" baseline="0">
                  <a:latin typeface="+mn-lt"/>
                  <a:cs typeface="Arial" pitchFamily="34" charset="0"/>
                </a:defRPr>
              </a:lvl2pPr>
              <a:lvl3pPr marL="406588" indent="-232941" defTabSz="79623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sz="1423" baseline="0">
                  <a:latin typeface="+mn-lt"/>
                  <a:cs typeface="Arial" pitchFamily="34" charset="0"/>
                </a:defRPr>
              </a:lvl3pPr>
              <a:lvl4pPr marL="546353" indent="-138353" defTabSz="79623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sz="1423" baseline="0">
                  <a:latin typeface="+mn-lt"/>
                  <a:cs typeface="Arial" pitchFamily="34" charset="0"/>
                </a:defRPr>
              </a:lvl4pPr>
              <a:lvl5pPr marL="666804" indent="-115765" defTabSz="79623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sz="1423" baseline="0">
                  <a:latin typeface="+mn-lt"/>
                  <a:cs typeface="Arial" pitchFamily="34" charset="0"/>
                </a:defRPr>
              </a:lvl5pPr>
              <a:lvl6pPr marL="666804" indent="-115765" defTabSz="796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423">
                  <a:latin typeface="+mn-lt"/>
                  <a:ea typeface="MS PGothic" pitchFamily="34" charset="-128"/>
                </a:defRPr>
              </a:lvl6pPr>
              <a:lvl7pPr marL="666804" indent="-115765" defTabSz="796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423">
                  <a:latin typeface="+mn-lt"/>
                  <a:ea typeface="MS PGothic" pitchFamily="34" charset="-128"/>
                </a:defRPr>
              </a:lvl7pPr>
              <a:lvl8pPr marL="666804" indent="-115765" defTabSz="796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423">
                  <a:latin typeface="+mn-lt"/>
                  <a:ea typeface="MS PGothic" pitchFamily="34" charset="-128"/>
                </a:defRPr>
              </a:lvl8pPr>
              <a:lvl9pPr marL="666804" indent="-115765" defTabSz="796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423">
                  <a:latin typeface="+mn-lt"/>
                  <a:ea typeface="MS PGothic" pitchFamily="34" charset="-128"/>
                </a:defRPr>
              </a:lvl9pPr>
            </a:lstStyle>
            <a:p>
              <a:pPr lvl="1">
                <a:spcBef>
                  <a:spcPts val="600"/>
                </a:spcBef>
              </a:pPr>
              <a:r>
                <a:rPr lang="en-US" sz="1500" dirty="0">
                  <a:ea typeface="ＭＳ Ｐゴシック" panose="020B0600070205080204" pitchFamily="34" charset="-128"/>
                  <a:cs typeface="+mn-cs"/>
                </a:rPr>
                <a:t>Existing client account relationship </a:t>
              </a:r>
            </a:p>
            <a:p>
              <a:pPr lvl="1">
                <a:spcBef>
                  <a:spcPts val="600"/>
                </a:spcBef>
              </a:pPr>
              <a:r>
                <a:rPr lang="en-US" sz="1500" dirty="0">
                  <a:ea typeface="ＭＳ Ｐゴシック" panose="020B0600070205080204" pitchFamily="34" charset="-128"/>
                  <a:cs typeface="+mn-cs"/>
                </a:rPr>
                <a:t>Previous account performance history</a:t>
              </a:r>
            </a:p>
            <a:p>
              <a:pPr lvl="1">
                <a:spcBef>
                  <a:spcPts val="600"/>
                </a:spcBef>
              </a:pPr>
              <a:r>
                <a:rPr lang="en-US" sz="1500" dirty="0">
                  <a:ea typeface="ＭＳ Ｐゴシック" panose="020B0600070205080204" pitchFamily="34" charset="-128"/>
                  <a:cs typeface="+mn-cs"/>
                </a:rPr>
                <a:t>Non-customer client relationship (e.g., trial site for high innovation product</a:t>
              </a:r>
              <a:r>
                <a:rPr lang="en-US" sz="1500" dirty="0" smtClean="0">
                  <a:ea typeface="ＭＳ Ｐゴシック" panose="020B0600070205080204" pitchFamily="34" charset="-128"/>
                  <a:cs typeface="+mn-cs"/>
                </a:rPr>
                <a:t>)</a:t>
              </a:r>
              <a:endParaRPr lang="en-US" sz="1500" dirty="0">
                <a:ea typeface="ＭＳ Ｐゴシック" panose="020B0600070205080204" pitchFamily="34" charset="-128"/>
                <a:cs typeface="+mn-cs"/>
              </a:endParaRPr>
            </a:p>
            <a:p>
              <a:pPr lvl="1">
                <a:spcBef>
                  <a:spcPts val="600"/>
                </a:spcBef>
              </a:pPr>
              <a:r>
                <a:rPr lang="en-US" sz="1500" dirty="0">
                  <a:ea typeface="ＭＳ Ｐゴシック" panose="020B0600070205080204" pitchFamily="34" charset="-128"/>
                  <a:cs typeface="+mn-cs"/>
                </a:rPr>
                <a:t>Geography / practical considerations</a:t>
              </a: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7575852" y="1820517"/>
              <a:ext cx="3905812" cy="3128295"/>
              <a:chOff x="5681637" y="1769716"/>
              <a:chExt cx="2929229" cy="3128295"/>
            </a:xfrm>
          </p:grpSpPr>
          <p:sp>
            <p:nvSpPr>
              <p:cNvPr id="8" name="Rectangle 7"/>
              <p:cNvSpPr>
                <a:spLocks/>
              </p:cNvSpPr>
              <p:nvPr/>
            </p:nvSpPr>
            <p:spPr>
              <a:xfrm>
                <a:off x="5681637" y="1769716"/>
                <a:ext cx="2929229" cy="3128295"/>
              </a:xfrm>
              <a:prstGeom prst="rect">
                <a:avLst/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5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TextBox 13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5785258" y="1893858"/>
                <a:ext cx="2709142" cy="2886944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>
                <a:defPPr>
                  <a:defRPr lang="en-US"/>
                </a:defPPr>
                <a:lvl1pPr>
                  <a:defRPr b="1" i="1"/>
                </a:lvl1pPr>
              </a:lstStyle>
              <a:p>
                <a:pPr marL="285750" indent="-285750">
                  <a:spcBef>
                    <a:spcPct val="80000"/>
                  </a:spcBef>
                  <a:buFont typeface="Wingdings" panose="05000000000000000000" pitchFamily="2" charset="2"/>
                  <a:buChar char="§"/>
                </a:pPr>
                <a:r>
                  <a:rPr lang="en-US" sz="1500" i="0" dirty="0">
                    <a:solidFill>
                      <a:schemeClr val="bg1"/>
                    </a:solidFill>
                    <a:latin typeface="+mn-lt"/>
                  </a:rPr>
                  <a:t>Leveraged both Medicare and Commercial data on ~6000 potential accounts</a:t>
                </a:r>
              </a:p>
              <a:p>
                <a:pPr marL="285750" indent="-285750">
                  <a:spcBef>
                    <a:spcPct val="80000"/>
                  </a:spcBef>
                  <a:buFont typeface="Wingdings" panose="05000000000000000000" pitchFamily="2" charset="2"/>
                  <a:buChar char="§"/>
                </a:pPr>
                <a:r>
                  <a:rPr lang="en-US" sz="1500" i="0" dirty="0">
                    <a:solidFill>
                      <a:schemeClr val="bg1"/>
                    </a:solidFill>
                    <a:latin typeface="+mn-lt"/>
                  </a:rPr>
                  <a:t>Used “behavioral” account characteristics and surgeon training to prioritize accounts  </a:t>
                </a:r>
              </a:p>
              <a:p>
                <a:pPr marL="285750" indent="-285750">
                  <a:spcBef>
                    <a:spcPct val="80000"/>
                  </a:spcBef>
                  <a:buFont typeface="Wingdings" panose="05000000000000000000" pitchFamily="2" charset="2"/>
                  <a:buChar char="§"/>
                </a:pPr>
                <a:r>
                  <a:rPr lang="en-US" sz="1500" i="0" dirty="0">
                    <a:solidFill>
                      <a:schemeClr val="bg1"/>
                    </a:solidFill>
                    <a:latin typeface="+mn-lt"/>
                  </a:rPr>
                  <a:t>Overlaid client and account factors to each account</a:t>
                </a:r>
              </a:p>
              <a:p>
                <a:pPr marL="285750" indent="-285750">
                  <a:spcBef>
                    <a:spcPct val="80000"/>
                  </a:spcBef>
                  <a:buFont typeface="Wingdings" panose="05000000000000000000" pitchFamily="2" charset="2"/>
                  <a:buChar char="§"/>
                </a:pPr>
                <a:r>
                  <a:rPr lang="en-US" sz="1500" i="0" dirty="0">
                    <a:solidFill>
                      <a:schemeClr val="bg1"/>
                    </a:solidFill>
                    <a:latin typeface="+mn-lt"/>
                  </a:rPr>
                  <a:t>Estimated likelihood of “success” in each account</a:t>
                </a:r>
              </a:p>
            </p:txBody>
          </p:sp>
        </p:grpSp>
        <p:sp>
          <p:nvSpPr>
            <p:cNvPr id="3" name="Isosceles Triangle 2"/>
            <p:cNvSpPr>
              <a:spLocks/>
            </p:cNvSpPr>
            <p:nvPr/>
          </p:nvSpPr>
          <p:spPr>
            <a:xfrm rot="10800000">
              <a:off x="7575852" y="5001347"/>
              <a:ext cx="3905812" cy="328107"/>
            </a:xfrm>
            <a:prstGeom prst="triangl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>
                <a:solidFill>
                  <a:schemeClr val="tx1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7575852" y="5381989"/>
              <a:ext cx="3905812" cy="842379"/>
            </a:xfrm>
            <a:prstGeom prst="roundRect">
              <a:avLst>
                <a:gd name="adj" fmla="val 0"/>
              </a:avLst>
            </a:prstGeom>
            <a:solidFill>
              <a:schemeClr val="accent3"/>
            </a:solidFill>
            <a:ln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70571" tIns="70571" rIns="70571" bIns="70571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13429" eaLnBrk="1" hangingPunct="1">
                <a:buClr>
                  <a:schemeClr val="tx2"/>
                </a:buClr>
                <a:defRPr sz="1127" b="0" baseline="0">
                  <a:solidFill>
                    <a:schemeClr val="bg1"/>
                  </a:solidFill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solidFill>
                    <a:schemeClr val="dk1"/>
                  </a:solidFill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solidFill>
                    <a:schemeClr val="dk1"/>
                  </a:solidFill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solidFill>
                    <a:schemeClr val="dk1"/>
                  </a:solidFill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solidFill>
                    <a:schemeClr val="dk1"/>
                  </a:solidFill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solidFill>
                    <a:schemeClr val="dk1"/>
                  </a:solidFill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solidFill>
                    <a:schemeClr val="dk1"/>
                  </a:solidFill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solidFill>
                    <a:schemeClr val="dk1"/>
                  </a:solidFill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solidFill>
                    <a:schemeClr val="dk1"/>
                  </a:solidFill>
                  <a:latin typeface="+mn-lt"/>
                </a:defRPr>
              </a:lvl9pPr>
            </a:lstStyle>
            <a:p>
              <a:pPr marL="1620" lvl="1" indent="0">
                <a:spcBef>
                  <a:spcPct val="25000"/>
                </a:spcBef>
                <a:buClr>
                  <a:schemeClr val="bg1"/>
                </a:buClr>
                <a:buNone/>
              </a:pPr>
              <a:r>
                <a:rPr lang="en-US" sz="1500" b="1" dirty="0">
                  <a:solidFill>
                    <a:schemeClr val="bg1"/>
                  </a:solidFill>
                </a:rPr>
                <a:t>Prioritized ~350 hospital</a:t>
              </a:r>
              <a:br>
                <a:rPr lang="en-US" sz="1500" b="1" dirty="0">
                  <a:solidFill>
                    <a:schemeClr val="bg1"/>
                  </a:solidFill>
                </a:rPr>
              </a:br>
              <a:r>
                <a:rPr lang="en-US" sz="1500" b="1" dirty="0">
                  <a:solidFill>
                    <a:schemeClr val="bg1"/>
                  </a:solidFill>
                </a:rPr>
                <a:t>and physician customers</a:t>
              </a:r>
              <a:br>
                <a:rPr lang="en-US" sz="1500" b="1" dirty="0">
                  <a:solidFill>
                    <a:schemeClr val="bg1"/>
                  </a:solidFill>
                </a:rPr>
              </a:br>
              <a:r>
                <a:rPr lang="en-US" sz="1500" b="1" dirty="0">
                  <a:solidFill>
                    <a:schemeClr val="bg1"/>
                  </a:solidFill>
                </a:rPr>
                <a:t>for targeting</a:t>
              </a:r>
              <a:endParaRPr lang="en-US" sz="15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9525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1898207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3" name="think-cell Slide" r:id="rId7" imgW="524" imgH="526" progId="TCLayout.ActiveDocument.1">
                  <p:embed/>
                </p:oleObj>
              </mc:Choice>
              <mc:Fallback>
                <p:oleObj name="think-cell Slide" r:id="rId7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Based on segmentation/prioritization we developed account level deployment strategies with potential 5x increase in sales over next 3 years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612901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74659" y="1069047"/>
            <a:ext cx="10860092" cy="5338316"/>
            <a:chOff x="158759" y="1150937"/>
            <a:chExt cx="11491891" cy="5648879"/>
          </a:xfrm>
        </p:grpSpPr>
        <p:sp>
          <p:nvSpPr>
            <p:cNvPr id="11" name="Rectangle 9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158759" y="1150937"/>
              <a:ext cx="11491891" cy="509746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3285" tIns="46643" rIns="93285" bIns="46643" rtlCol="0" anchor="ctr">
              <a:noAutofit/>
            </a:bodyPr>
            <a:lstStyle>
              <a:defPPr>
                <a:defRPr lang="en-US"/>
              </a:defPPr>
              <a:lvl1pPr algn="ctr" defTabSz="448056" fontAlgn="auto">
                <a:spcBef>
                  <a:spcPts val="0"/>
                </a:spcBef>
                <a:spcAft>
                  <a:spcPts val="0"/>
                </a:spcAft>
                <a:defRPr sz="1300">
                  <a:solidFill>
                    <a:srgbClr val="FFFFFF"/>
                  </a:solidFill>
                </a:defRPr>
              </a:lvl1pPr>
            </a:lstStyle>
            <a:p>
              <a:pPr lvl="1"/>
              <a:endParaRPr lang="en-US" dirty="0"/>
            </a:p>
          </p:txBody>
        </p:sp>
        <p:pic>
          <p:nvPicPr>
            <p:cNvPr id="7" name="Picture 6"/>
            <p:cNvPicPr>
              <a:picLocks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94489" y="1640524"/>
              <a:ext cx="5559369" cy="4166575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7076" y="1640524"/>
              <a:ext cx="5559369" cy="4166575"/>
            </a:xfrm>
            <a:prstGeom prst="rect">
              <a:avLst/>
            </a:prstGeom>
          </p:spPr>
        </p:pic>
        <p:sp>
          <p:nvSpPr>
            <p:cNvPr id="3" name="TextBox 2"/>
            <p:cNvSpPr txBox="1"/>
            <p:nvPr/>
          </p:nvSpPr>
          <p:spPr>
            <a:xfrm>
              <a:off x="3255493" y="5915727"/>
              <a:ext cx="5298425" cy="88408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  <a:effectLst/>
          </p:spPr>
          <p:txBody>
            <a:bodyPr vert="horz" wrap="square" lIns="72009" tIns="72009" rIns="72009" bIns="72009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600" b="1" dirty="0">
                  <a:solidFill>
                    <a:schemeClr val="tx2"/>
                  </a:solidFill>
                </a:rPr>
                <a:t>Impact over the next 3 years is expected to be</a:t>
              </a:r>
            </a:p>
            <a:p>
              <a:pPr lvl="1"/>
              <a:r>
                <a:rPr lang="en-US" sz="1600" dirty="0"/>
                <a:t>5-fold increase in sales</a:t>
              </a:r>
            </a:p>
            <a:p>
              <a:pPr lvl="1"/>
              <a:r>
                <a:rPr lang="en-US" sz="1600" dirty="0"/>
                <a:t>Doubling of original client projected growth rate</a:t>
              </a:r>
            </a:p>
          </p:txBody>
        </p:sp>
        <p:grpSp>
          <p:nvGrpSpPr>
            <p:cNvPr id="13" name="ACET"/>
            <p:cNvGrpSpPr>
              <a:grpSpLocks/>
            </p:cNvGrpSpPr>
            <p:nvPr/>
          </p:nvGrpSpPr>
          <p:grpSpPr bwMode="gray">
            <a:xfrm>
              <a:off x="297074" y="1221692"/>
              <a:ext cx="5559369" cy="264596"/>
              <a:chOff x="915" y="905"/>
              <a:chExt cx="2686" cy="125"/>
            </a:xfrm>
          </p:grpSpPr>
          <p:cxnSp>
            <p:nvCxnSpPr>
              <p:cNvPr id="14" name="AutoShape 249"/>
              <p:cNvCxnSpPr>
                <a:cxnSpLocks noChangeShapeType="1"/>
                <a:stCxn id="15" idx="4"/>
                <a:endCxn id="15" idx="6"/>
              </p:cNvCxnSpPr>
              <p:nvPr/>
            </p:nvCxnSpPr>
            <p:spPr bwMode="gray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chemeClr val="accent4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5" name="AutoShape 250"/>
              <p:cNvSpPr>
                <a:spLocks noChangeArrowheads="1"/>
              </p:cNvSpPr>
              <p:nvPr/>
            </p:nvSpPr>
            <p:spPr bwMode="gray">
              <a:xfrm>
                <a:off x="915" y="905"/>
                <a:ext cx="2686" cy="125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en-US" b="1" dirty="0">
                    <a:solidFill>
                      <a:schemeClr val="tx2"/>
                    </a:solidFill>
                    <a:latin typeface="+mn-lt"/>
                  </a:rPr>
                  <a:t>Account segmentation</a:t>
                </a:r>
                <a:endParaRPr lang="en-US" dirty="0">
                  <a:solidFill>
                    <a:schemeClr val="tx2"/>
                  </a:solidFill>
                  <a:latin typeface="+mn-lt"/>
                </a:endParaRPr>
              </a:p>
            </p:txBody>
          </p:sp>
        </p:grpSp>
        <p:grpSp>
          <p:nvGrpSpPr>
            <p:cNvPr id="16" name="ACET"/>
            <p:cNvGrpSpPr>
              <a:grpSpLocks/>
            </p:cNvGrpSpPr>
            <p:nvPr/>
          </p:nvGrpSpPr>
          <p:grpSpPr bwMode="gray">
            <a:xfrm>
              <a:off x="5994489" y="1221692"/>
              <a:ext cx="5559369" cy="264596"/>
              <a:chOff x="915" y="905"/>
              <a:chExt cx="2686" cy="125"/>
            </a:xfrm>
          </p:grpSpPr>
          <p:cxnSp>
            <p:nvCxnSpPr>
              <p:cNvPr id="17" name="AutoShape 249"/>
              <p:cNvCxnSpPr>
                <a:cxnSpLocks noChangeShapeType="1"/>
                <a:stCxn id="18" idx="4"/>
                <a:endCxn id="18" idx="6"/>
              </p:cNvCxnSpPr>
              <p:nvPr/>
            </p:nvCxnSpPr>
            <p:spPr bwMode="gray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chemeClr val="accent4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8" name="AutoShape 250"/>
              <p:cNvSpPr>
                <a:spLocks noChangeArrowheads="1"/>
              </p:cNvSpPr>
              <p:nvPr/>
            </p:nvSpPr>
            <p:spPr bwMode="gray">
              <a:xfrm>
                <a:off x="915" y="905"/>
                <a:ext cx="2686" cy="125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en-US" b="1" dirty="0">
                    <a:solidFill>
                      <a:schemeClr val="tx2"/>
                    </a:solidFill>
                    <a:latin typeface="+mn-lt"/>
                  </a:rPr>
                  <a:t>Account level strategy (deployment)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26872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THINKCELLUNDODONOTDELETE" val="0"/>
  <p:tag name="PREVIOUSNAME" val="C:\Users\Vasudevan Anbazhagan\Desktop\WIP\Nov\27-Nov-18\1810-1110744\Draft\PMP006_Bottom-up analytics led business planning exercis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ZnDpnT_y.cl59rB0QR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1_ct3hEkWuxDM2ph5Mb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lVA_k2G0qvz4a.1eow_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lOddboTaiyWxOwKXiWA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tlADPeS_2hg4A2bIGZ8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69</Words>
  <Application>Microsoft Macintosh PowerPoint</Application>
  <PresentationFormat>Custom</PresentationFormat>
  <Paragraphs>4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9" baseType="lpstr">
      <vt:lpstr>ＭＳ Ｐゴシック</vt:lpstr>
      <vt:lpstr>Wingdings</vt:lpstr>
      <vt:lpstr>Arial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Context</vt:lpstr>
      <vt:lpstr>Two phased approach to maximize launch success</vt:lpstr>
      <vt:lpstr>Utilized account criteria and performance drivers to segment and prioritize accounts</vt:lpstr>
      <vt:lpstr>Based on segmentation/prioritization we developed account level deployment strategies with potential 5x increase in sales over next 3 years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5-22T14:23:48Z</dcterms:modified>
  <cp:category/>
  <cp:contentStatus/>
  <dc:language/>
  <cp:version/>
</cp:coreProperties>
</file>